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23.bin" ContentType="application/vnd.openxmlformats-officedocument.oleObject"/>
  <Override PartName="/ppt/embeddings/oleObject24.bin" ContentType="application/vnd.openxmlformats-officedocument.oleObject"/>
  <Override PartName="/ppt/embeddings/oleObject25.bin" ContentType="application/vnd.openxmlformats-officedocument.oleObject"/>
  <Override PartName="/ppt/embeddings/oleObject26.bin" ContentType="application/vnd.openxmlformats-officedocument.oleObject"/>
  <Override PartName="/ppt/embeddings/oleObject27.bin" ContentType="application/vnd.openxmlformats-officedocument.oleObject"/>
  <Override PartName="/ppt/embeddings/oleObject28.bin" ContentType="application/vnd.openxmlformats-officedocument.oleObject"/>
  <Override PartName="/ppt/embeddings/oleObject29.bin" ContentType="application/vnd.openxmlformats-officedocument.oleObject"/>
  <Override PartName="/ppt/embeddings/oleObject3.bin" ContentType="application/vnd.openxmlformats-officedocument.oleObject"/>
  <Override PartName="/ppt/embeddings/oleObject30.bin" ContentType="application/vnd.openxmlformats-officedocument.oleObject"/>
  <Override PartName="/ppt/embeddings/oleObject31.bin" ContentType="application/vnd.openxmlformats-officedocument.oleObject"/>
  <Override PartName="/ppt/embeddings/oleObject32.bin" ContentType="application/vnd.openxmlformats-officedocument.oleObject"/>
  <Override PartName="/ppt/embeddings/oleObject33.bin" ContentType="application/vnd.openxmlformats-officedocument.oleObject"/>
  <Override PartName="/ppt/embeddings/oleObject34.bin" ContentType="application/vnd.openxmlformats-officedocument.oleObject"/>
  <Override PartName="/ppt/embeddings/oleObject35.bin" ContentType="application/vnd.openxmlformats-officedocument.oleObject"/>
  <Override PartName="/ppt/embeddings/oleObject36.bin" ContentType="application/vnd.openxmlformats-officedocument.oleObject"/>
  <Override PartName="/ppt/embeddings/oleObject37.bin" ContentType="application/vnd.openxmlformats-officedocument.oleObject"/>
  <Override PartName="/ppt/embeddings/oleObject38.bin" ContentType="application/vnd.openxmlformats-officedocument.oleObject"/>
  <Override PartName="/ppt/embeddings/oleObject39.bin" ContentType="application/vnd.openxmlformats-officedocument.oleObject"/>
  <Override PartName="/ppt/embeddings/oleObject4.bin" ContentType="application/vnd.openxmlformats-officedocument.oleObject"/>
  <Override PartName="/ppt/embeddings/oleObject40.bin" ContentType="application/vnd.openxmlformats-officedocument.oleObject"/>
  <Override PartName="/ppt/embeddings/oleObject41.bin" ContentType="application/vnd.openxmlformats-officedocument.oleObject"/>
  <Override PartName="/ppt/embeddings/oleObject42.bin" ContentType="application/vnd.openxmlformats-officedocument.oleObject"/>
  <Override PartName="/ppt/embeddings/oleObject43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10" r:id="rId5"/>
    <p:sldMasterId id="2147483691" r:id="rId6"/>
    <p:sldMasterId id="2147483673" r:id="rId7"/>
    <p:sldMasterId id="2147483694" r:id="rId8"/>
  </p:sldMasterIdLst>
  <p:notesMasterIdLst>
    <p:notesMasterId r:id="rId18"/>
  </p:notesMasterIdLst>
  <p:handoutMasterIdLst>
    <p:handoutMasterId r:id="rId19"/>
  </p:handoutMasterIdLst>
  <p:sldIdLst>
    <p:sldId id="256" r:id="rId17"/>
    <p:sldId id="257" r:id="rId16"/>
    <p:sldId id="258" r:id="rId15"/>
    <p:sldId id="259" r:id="rId14"/>
    <p:sldId id="260" r:id="rId13"/>
    <p:sldId id="261" r:id="rId12"/>
    <p:sldId id="262" r:id="rId11"/>
    <p:sldId id="263" r:id="rId10"/>
    <p:sldId id="264" r:id="rId9"/>
    <p:sldId id="265" r:id="rId26"/>
  </p:sldIdLst>
  <p:sldSz cx="12192000" cy="6858000"/>
  <p:notesSz cx="6797675" cy="9926638"/>
  <p:custDataLst>
    <p:tags r:id="rId2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rowth Kick-off" id="{00913B31-2E1B-4B0D-A73A-044F81C03ADF}">
          <p14:sldIdLst>
            <p14:sldId id="330"/>
            <p14:sldId id="2147474897"/>
            <p14:sldId id="2147474784"/>
            <p14:sldId id="2147474727"/>
            <p14:sldId id="2147474728"/>
            <p14:sldId id="2147474868"/>
            <p14:sldId id="2147474811"/>
            <p14:sldId id="2147474731"/>
            <p14:sldId id="2147474732"/>
          </p14:sldIdLst>
        </p14:section>
        <p14:section name="All Growth slides" id="{9C659CD6-5765-4293-B2FE-2D0AAE1E9AE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3" pos="166" userDrawn="1">
          <p15:clr>
            <a:srgbClr val="A4A3A4"/>
          </p15:clr>
        </p15:guide>
        <p15:guide id="4" orient="horz" pos="799" userDrawn="1">
          <p15:clr>
            <a:srgbClr val="A4A3A4"/>
          </p15:clr>
        </p15:guide>
        <p15:guide id="5" pos="7537" userDrawn="1">
          <p15:clr>
            <a:srgbClr val="A4A3A4"/>
          </p15:clr>
        </p15:guide>
        <p15:guide id="9" pos="3931" userDrawn="1">
          <p15:clr>
            <a:srgbClr val="A4A3A4"/>
          </p15:clr>
        </p15:guide>
        <p15:guide id="10" orient="horz" pos="1117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2251" userDrawn="1">
          <p15:clr>
            <a:srgbClr val="A4A3A4"/>
          </p15:clr>
        </p15:guide>
        <p15:guide id="13" pos="37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7F7F7"/>
    <a:srgbClr val="1DB899"/>
    <a:srgbClr val="F6A320"/>
    <a:srgbClr val="C2E2B4"/>
    <a:srgbClr val="FEF3F2"/>
    <a:srgbClr val="68B445"/>
    <a:srgbClr val="F48179"/>
    <a:srgbClr val="0BBEEF"/>
    <a:srgbClr val="A4D4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13" autoAdjust="0"/>
    <p:restoredTop sz="86925" autoAdjust="0"/>
  </p:normalViewPr>
  <p:slideViewPr>
    <p:cSldViewPr snapToGrid="0">
      <p:cViewPr varScale="1">
        <p:scale>
          <a:sx n="68" d="100"/>
          <a:sy n="68" d="100"/>
        </p:scale>
        <p:origin x="1219" y="67"/>
      </p:cViewPr>
      <p:guideLst>
        <p:guide orient="horz" pos="4042"/>
        <p:guide pos="166"/>
        <p:guide orient="horz" pos="799"/>
        <p:guide pos="7537"/>
        <p:guide pos="3931"/>
        <p:guide orient="horz" pos="1117"/>
        <p:guide orient="horz" pos="2160"/>
        <p:guide orient="horz" pos="2251"/>
        <p:guide pos="37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Master" Target="slideMasters/slideMaster5.xml"/><Relationship Id="rId9" Type="http://schemas.openxmlformats.org/officeDocument/2006/relationships/slide" Target="slides/slide9.xml"/><Relationship Id="rId10" Type="http://schemas.openxmlformats.org/officeDocument/2006/relationships/slide" Target="slides/slide8.xml"/><Relationship Id="rId11" Type="http://schemas.openxmlformats.org/officeDocument/2006/relationships/slide" Target="slides/slide7.xml"/><Relationship Id="rId12" Type="http://schemas.openxmlformats.org/officeDocument/2006/relationships/slide" Target="slides/slide6.xml"/><Relationship Id="rId13" Type="http://schemas.openxmlformats.org/officeDocument/2006/relationships/slide" Target="slides/slide5.xml"/><Relationship Id="rId14" Type="http://schemas.openxmlformats.org/officeDocument/2006/relationships/slide" Target="slides/slide4.xml"/><Relationship Id="rId15" Type="http://schemas.openxmlformats.org/officeDocument/2006/relationships/slide" Target="slides/slide3.xml"/><Relationship Id="rId16" Type="http://schemas.openxmlformats.org/officeDocument/2006/relationships/slide" Target="slides/slide2.xml"/><Relationship Id="rId17" Type="http://schemas.openxmlformats.org/officeDocument/2006/relationships/slide" Target="slides/slide1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20" Type="http://schemas.openxmlformats.org/officeDocument/2006/relationships/tags" Target="tags/tag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25" Type="http://schemas.microsoft.com/office/2016/11/relationships/changesInfo" Target="changesInfos/changesInfo1.xml"/><Relationship Id="rId26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rjen van der Werf" userId="b77cb24148bbd98a" providerId="LiveId" clId="{E7223C61-0C75-4C0A-BB2E-20CEBE87EFBE}"/>
    <pc:docChg chg="delSld modSection">
      <pc:chgData name="Jurjen van der Werf" userId="b77cb24148bbd98a" providerId="LiveId" clId="{E7223C61-0C75-4C0A-BB2E-20CEBE87EFBE}" dt="2026-02-17T17:44:57.350" v="3" actId="47"/>
      <pc:docMkLst>
        <pc:docMk/>
      </pc:docMkLst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14538051" sldId="2147474650"/>
        </pc:sldMkLst>
      </pc:sldChg>
      <pc:sldChg chg="del">
        <pc:chgData name="Jurjen van der Werf" userId="b77cb24148bbd98a" providerId="LiveId" clId="{E7223C61-0C75-4C0A-BB2E-20CEBE87EFBE}" dt="2026-02-17T17:44:46.736" v="1" actId="47"/>
        <pc:sldMkLst>
          <pc:docMk/>
          <pc:sldMk cId="3803228211" sldId="2147474729"/>
        </pc:sldMkLst>
      </pc:sldChg>
      <pc:sldChg chg="del">
        <pc:chgData name="Jurjen van der Werf" userId="b77cb24148bbd98a" providerId="LiveId" clId="{E7223C61-0C75-4C0A-BB2E-20CEBE87EFBE}" dt="2026-02-17T17:44:50.178" v="2" actId="47"/>
        <pc:sldMkLst>
          <pc:docMk/>
          <pc:sldMk cId="2917132911" sldId="214747473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285831038" sldId="2147474734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945046096" sldId="2147474774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866906756" sldId="2147474791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68485231" sldId="2147474792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10001451" sldId="2147474793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82905484" sldId="214747479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21897149" sldId="2147474813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04413" sldId="2147474818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982350234" sldId="2147474822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800079606" sldId="214747482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743600200" sldId="2147474827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94306829" sldId="214747483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774158065" sldId="2147474831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52955253" sldId="214747483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720967925" sldId="2147474846"/>
        </pc:sldMkLst>
      </pc:sldChg>
      <pc:sldChg chg="del">
        <pc:chgData name="Jurjen van der Werf" userId="b77cb24148bbd98a" providerId="LiveId" clId="{E7223C61-0C75-4C0A-BB2E-20CEBE87EFBE}" dt="2026-02-17T17:44:43.288" v="0" actId="47"/>
        <pc:sldMkLst>
          <pc:docMk/>
          <pc:sldMk cId="3508376233" sldId="214747484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801442552" sldId="2147474858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686024666" sldId="214747485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578563758" sldId="2147474861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673807293" sldId="214747486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430030377" sldId="214747487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976801072" sldId="2147474873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13430348" sldId="2147474874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377526072" sldId="214747487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409653822" sldId="214747487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829968276" sldId="2147474882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745885426" sldId="214747488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934247904" sldId="2147474898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960596719" sldId="214747489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921978935" sldId="214747490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776396208" sldId="2147474902"/>
        </pc:sldMkLst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_rels/chart10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0.xlsx"/></Relationships>
</file>

<file path=ppt/charts/_rels/chart1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1.xlsx"/></Relationships>
</file>

<file path=ppt/charts/_rels/chart12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2.xlsx"/></Relationships>
</file>

<file path=ppt/charts/_rels/chart13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3.xlsx"/></Relationships>
</file>

<file path=ppt/charts/_rels/chart14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4.xlsx"/></Relationships>
</file>

<file path=ppt/charts/_rels/chart15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5.xlsx"/></Relationships>
</file>

<file path=ppt/charts/_rels/chart16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6.xlsx"/></Relationships>
</file>

<file path=ppt/charts/_rels/chart17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7.xlsx"/></Relationships>
</file>

<file path=ppt/charts/_rels/chart18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8.xlsx"/></Relationships>
</file>

<file path=ppt/charts/_rels/chart19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9.xlsx"/></Relationships>
</file>

<file path=ppt/charts/_rels/chart2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.xlsx"/></Relationships>
</file>

<file path=ppt/charts/_rels/chart20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0.xlsx"/></Relationships>
</file>

<file path=ppt/charts/_rels/chart2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1.xlsx"/></Relationships>
</file>

<file path=ppt/charts/_rels/chart22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2.xlsx"/></Relationships>
</file>

<file path=ppt/charts/_rels/chart23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3.xlsx"/></Relationships>
</file>

<file path=ppt/charts/_rels/chart24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4.xlsx"/></Relationships>
</file>

<file path=ppt/charts/_rels/chart25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5.xlsx"/></Relationships>
</file>

<file path=ppt/charts/_rels/chart26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6.xlsx"/></Relationships>
</file>

<file path=ppt/charts/_rels/chart27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7.xlsx"/></Relationships>
</file>

<file path=ppt/charts/_rels/chart28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8.xlsx"/></Relationships>
</file>

<file path=ppt/charts/_rels/chart29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9.xlsx"/></Relationships>
</file>

<file path=ppt/charts/_rels/chart3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3.xlsx"/></Relationships>
</file>

<file path=ppt/charts/_rels/chart30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30.xlsx"/></Relationships>
</file>

<file path=ppt/charts/_rels/chart3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31.xlsx"/></Relationships>
</file>

<file path=ppt/charts/_rels/chart32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32.xlsx"/></Relationships>
</file>

<file path=ppt/charts/_rels/chart33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33.xlsx"/></Relationships>
</file>

<file path=ppt/charts/_rels/chart34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34.xlsx"/></Relationships>
</file>

<file path=ppt/charts/_rels/chart4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4.xlsx"/></Relationships>
</file>

<file path=ppt/charts/_rels/chart5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5.xlsx"/></Relationships>
</file>

<file path=ppt/charts/_rels/chart6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6.xlsx"/></Relationships>
</file>

<file path=ppt/charts/_rels/chart7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7.xlsx"/></Relationships>
</file>

<file path=ppt/charts/_rels/chart8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8.xlsx"/></Relationships>
</file>

<file path=ppt/charts/_rels/chart9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by Product Type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Pure Juices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33.333333333333336</c:v>
                </c:pt>
                <c:pt idx="1">
                  <c:v>33.333333333333336</c:v>
                </c:pt>
                <c:pt idx="2">
                  <c:v>33.333333333333336</c:v>
                </c:pt>
                <c:pt idx="3">
                  <c:v>33.333333333333336</c:v>
                </c:pt>
                <c:pt idx="4">
                  <c:v>33.333333333333336</c:v>
                </c:pt>
                <c:pt idx="5">
                  <c:v>33.333333333333336</c:v>
                </c:pt>
                <c:pt idx="6">
                  <c:v>33.33333333333333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moothies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33.333333333333336</c:v>
                </c:pt>
                <c:pt idx="1">
                  <c:v>33.333333333333336</c:v>
                </c:pt>
                <c:pt idx="2">
                  <c:v>33.333333333333336</c:v>
                </c:pt>
                <c:pt idx="3">
                  <c:v>33.333333333333336</c:v>
                </c:pt>
                <c:pt idx="4">
                  <c:v>33.333333333333336</c:v>
                </c:pt>
                <c:pt idx="5">
                  <c:v>33.333333333333336</c:v>
                </c:pt>
                <c:pt idx="6">
                  <c:v>33.33333333333333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ts</c:v>
                </c:pt>
              </c:strCache>
            </c:strRef>
          </c:tx>
          <c:spPr>
            <a:solidFill>
              <a:srgbClr val="F7B801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33.333333333333336</c:v>
                </c:pt>
                <c:pt idx="1">
                  <c:v>33.333333333333336</c:v>
                </c:pt>
                <c:pt idx="2">
                  <c:v>33.333333333333336</c:v>
                </c:pt>
                <c:pt idx="3">
                  <c:v>33.333333333333336</c:v>
                </c:pt>
                <c:pt idx="4">
                  <c:v>33.333333333333336</c:v>
                </c:pt>
                <c:pt idx="5">
                  <c:v>33.333333333333336</c:v>
                </c:pt>
                <c:pt idx="6">
                  <c:v>33.333333333333336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5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4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Pure Juices</c:v>
                </c:pt>
                <c:pt idx="1">
                  <c:v>Smoothies</c:v>
                </c:pt>
                <c:pt idx="2">
                  <c:v>Sho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0.0</c:v>
                </c:pt>
                <c:pt idx="1">
                  <c:v>60.0</c:v>
                </c:pt>
                <c:pt idx="2">
                  <c:v>20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6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3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Cold Pressed vs Other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Cold Press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entrifug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5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4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Pure Juices</c:v>
                </c:pt>
                <c:pt idx="1">
                  <c:v>Smoothies</c:v>
                </c:pt>
                <c:pt idx="2">
                  <c:v>Sho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0.0</c:v>
                </c:pt>
                <c:pt idx="1">
                  <c:v>60.0</c:v>
                </c:pt>
                <c:pt idx="2">
                  <c:v>20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6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3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Cold Pressed vs Other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Cold Press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entrifug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5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4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Pure Juices</c:v>
                </c:pt>
                <c:pt idx="1">
                  <c:v>Smoothies</c:v>
                </c:pt>
                <c:pt idx="2">
                  <c:v>Sho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0.0</c:v>
                </c:pt>
                <c:pt idx="1">
                  <c:v>60.0</c:v>
                </c:pt>
                <c:pt idx="2">
                  <c:v>20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50.0</c:v>
                </c:pt>
                <c:pt idx="1">
                  <c:v>50.0</c:v>
                </c:pt>
                <c:pt idx="2">
                  <c:v>50.0</c:v>
                </c:pt>
                <c:pt idx="3">
                  <c:v>50.0</c:v>
                </c:pt>
                <c:pt idx="4">
                  <c:v>50.0</c:v>
                </c:pt>
                <c:pt idx="5">
                  <c:v>50.0</c:v>
                </c:pt>
                <c:pt idx="6">
                  <c:v>5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50.0</c:v>
                </c:pt>
                <c:pt idx="1">
                  <c:v>50.0</c:v>
                </c:pt>
                <c:pt idx="2">
                  <c:v>50.0</c:v>
                </c:pt>
                <c:pt idx="3">
                  <c:v>50.0</c:v>
                </c:pt>
                <c:pt idx="4">
                  <c:v>50.0</c:v>
                </c:pt>
                <c:pt idx="5">
                  <c:v>50.0</c:v>
                </c:pt>
                <c:pt idx="6">
                  <c:v>5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6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3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Cold Pressed vs Other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Cold Press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entrifug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5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4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Pure Juices</c:v>
                </c:pt>
                <c:pt idx="1">
                  <c:v>Smoothies</c:v>
                </c:pt>
                <c:pt idx="2">
                  <c:v>Sho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0.0</c:v>
                </c:pt>
                <c:pt idx="1">
                  <c:v>60.0</c:v>
                </c:pt>
                <c:pt idx="2">
                  <c:v>20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6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3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Cold Pressed vs Other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Cold Press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entrifug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5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4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Pure Juices</c:v>
                </c:pt>
                <c:pt idx="1">
                  <c:v>Smoothies</c:v>
                </c:pt>
                <c:pt idx="2">
                  <c:v>Sho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0.0</c:v>
                </c:pt>
                <c:pt idx="1">
                  <c:v>60.0</c:v>
                </c:pt>
                <c:pt idx="2">
                  <c:v>20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6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3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Cold Pressed vs Other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Cold Press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entrifug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Cold Pressed vs Other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Cold Pressed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50.0</c:v>
                </c:pt>
                <c:pt idx="1">
                  <c:v>50.0</c:v>
                </c:pt>
                <c:pt idx="2">
                  <c:v>50.0</c:v>
                </c:pt>
                <c:pt idx="3">
                  <c:v>50.0</c:v>
                </c:pt>
                <c:pt idx="4">
                  <c:v>50.0</c:v>
                </c:pt>
                <c:pt idx="5">
                  <c:v>50.0</c:v>
                </c:pt>
                <c:pt idx="6">
                  <c:v>5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entrifugal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50.0</c:v>
                </c:pt>
                <c:pt idx="1">
                  <c:v>50.0</c:v>
                </c:pt>
                <c:pt idx="2">
                  <c:v>50.0</c:v>
                </c:pt>
                <c:pt idx="3">
                  <c:v>50.0</c:v>
                </c:pt>
                <c:pt idx="4">
                  <c:v>50.0</c:v>
                </c:pt>
                <c:pt idx="5">
                  <c:v>50.0</c:v>
                </c:pt>
                <c:pt idx="6">
                  <c:v>5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5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4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Pure Juices</c:v>
                </c:pt>
                <c:pt idx="1">
                  <c:v>Smoothies</c:v>
                </c:pt>
                <c:pt idx="2">
                  <c:v>Sho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0.0</c:v>
                </c:pt>
                <c:pt idx="1">
                  <c:v>60.0</c:v>
                </c:pt>
                <c:pt idx="2">
                  <c:v>20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6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3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Cold Pressed vs Other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Cold Press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entrifug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5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4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HPP vs Non-HPP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50.0</c:v>
                </c:pt>
                <c:pt idx="1">
                  <c:v>50.0</c:v>
                </c:pt>
                <c:pt idx="2">
                  <c:v>50.0</c:v>
                </c:pt>
                <c:pt idx="3">
                  <c:v>50.0</c:v>
                </c:pt>
                <c:pt idx="4">
                  <c:v>50.0</c:v>
                </c:pt>
                <c:pt idx="5">
                  <c:v>50.0</c:v>
                </c:pt>
                <c:pt idx="6">
                  <c:v>5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50.0</c:v>
                </c:pt>
                <c:pt idx="1">
                  <c:v>50.0</c:v>
                </c:pt>
                <c:pt idx="2">
                  <c:v>50.0</c:v>
                </c:pt>
                <c:pt idx="3">
                  <c:v>50.0</c:v>
                </c:pt>
                <c:pt idx="4">
                  <c:v>50.0</c:v>
                </c:pt>
                <c:pt idx="5">
                  <c:v>50.0</c:v>
                </c:pt>
                <c:pt idx="6">
                  <c:v>5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50.0</c:v>
                </c:pt>
                <c:pt idx="1">
                  <c:v>50.0</c:v>
                </c:pt>
                <c:pt idx="2">
                  <c:v>50.0</c:v>
                </c:pt>
                <c:pt idx="3">
                  <c:v>50.0</c:v>
                </c:pt>
                <c:pt idx="4">
                  <c:v>50.0</c:v>
                </c:pt>
                <c:pt idx="5">
                  <c:v>50.0</c:v>
                </c:pt>
                <c:pt idx="6">
                  <c:v>5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50.0</c:v>
                </c:pt>
                <c:pt idx="1">
                  <c:v>50.0</c:v>
                </c:pt>
                <c:pt idx="2">
                  <c:v>50.0</c:v>
                </c:pt>
                <c:pt idx="3">
                  <c:v>50.0</c:v>
                </c:pt>
                <c:pt idx="4">
                  <c:v>50.0</c:v>
                </c:pt>
                <c:pt idx="5">
                  <c:v>50.0</c:v>
                </c:pt>
                <c:pt idx="6">
                  <c:v>5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Category Shares by Retailer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% PL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30.0</c:v>
                </c:pt>
                <c:pt idx="1">
                  <c:v>30.0</c:v>
                </c:pt>
                <c:pt idx="2">
                  <c:v>30.0</c:v>
                </c:pt>
                <c:pt idx="3">
                  <c:v>30.0</c:v>
                </c:pt>
                <c:pt idx="4">
                  <c:v>30.0</c:v>
                </c:pt>
                <c:pt idx="5">
                  <c:v>30.0</c:v>
                </c:pt>
                <c:pt idx="6">
                  <c:v>3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% HPP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45.0</c:v>
                </c:pt>
                <c:pt idx="1">
                  <c:v>45.0</c:v>
                </c:pt>
                <c:pt idx="2">
                  <c:v>45.0</c:v>
                </c:pt>
                <c:pt idx="3">
                  <c:v>45.0</c:v>
                </c:pt>
                <c:pt idx="4">
                  <c:v>45.0</c:v>
                </c:pt>
                <c:pt idx="5">
                  <c:v>45.0</c:v>
                </c:pt>
                <c:pt idx="6">
                  <c:v>45.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% Cold Pressed</c:v>
                </c:pt>
              </c:strCache>
            </c:strRef>
          </c:tx>
          <c:spPr>
            <a:solidFill>
              <a:srgbClr val="F7B801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5.0</c:v>
                </c:pt>
                <c:pt idx="1">
                  <c:v>25.0</c:v>
                </c:pt>
                <c:pt idx="2">
                  <c:v>25.0</c:v>
                </c:pt>
                <c:pt idx="3">
                  <c:v>25.0</c:v>
                </c:pt>
                <c:pt idx="4">
                  <c:v>25.0</c:v>
                </c:pt>
                <c:pt idx="5">
                  <c:v>25.0</c:v>
                </c:pt>
                <c:pt idx="6">
                  <c:v>2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Pure Juices</c:v>
                </c:pt>
                <c:pt idx="1">
                  <c:v>Smoothies</c:v>
                </c:pt>
                <c:pt idx="2">
                  <c:v>Sho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0.0</c:v>
                </c:pt>
                <c:pt idx="1">
                  <c:v>60.0</c:v>
                </c:pt>
                <c:pt idx="2">
                  <c:v>20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6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35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Cold Pressed vs Other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Cold Press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entrifuga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A2467652-78F2-4B5A-B20E-7C7AB17032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9CA9DCEE-BBC4-4662-B888-662938B904B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/>
            </a:lvl1pPr>
          </a:lstStyle>
          <a:p>
            <a:fld id="{EC6D240C-7DD9-43FC-971C-50FDED5F6B2D}" type="datetimeFigureOut">
              <a:rPr lang="nl-NL" smtClean="0"/>
              <a:t>17-2-2026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B211BB1-A5B3-4F7A-91F7-809895E535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6EFFC3F-1BB0-4181-91C3-EA5CBF05A46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/>
            </a:lvl1pPr>
          </a:lstStyle>
          <a:p>
            <a:fld id="{BBDF97A8-E001-4B0A-B8E1-730C3D946463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30438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 rtl="0">
              <a:defRPr sz="1200"/>
            </a:lvl1pPr>
          </a:lstStyle>
          <a:p>
            <a:fld id="{06FAA07D-ACC6-4FD1-8392-DD72642CA228}" type="datetimeFigureOut">
              <a:rPr lang="en-GB" smtClean="0"/>
              <a:pPr/>
              <a:t>17/02/2026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8" tIns="45719" rIns="91438" bIns="45719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8" tIns="45719" rIns="91438" bIns="45719" rtlCol="0"/>
          <a:lstStyle/>
          <a:p>
            <a:pPr lvl="0"/>
            <a:r>
              <a:rPr lang="en-GB"/>
              <a:t>Klikken om de tekststijl van het model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 rtl="0">
              <a:defRPr sz="1200"/>
            </a:lvl1pPr>
          </a:lstStyle>
          <a:p>
            <a:fld id="{9DA522A9-22F3-43E2-9FA7-E579A8E305A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346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Relationship Id="rId5" Type="http://schemas.openxmlformats.org/officeDocument/2006/relationships/image" Target="../media/image7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Relationship Id="rId5" Type="http://schemas.openxmlformats.org/officeDocument/2006/relationships/image" Target="../media/image7.pn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1.emf"/><Relationship Id="rId5" Type="http://schemas.openxmlformats.org/officeDocument/2006/relationships/image" Target="../media/image7.pn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1.emf"/><Relationship Id="rId5" Type="http://schemas.openxmlformats.org/officeDocument/2006/relationships/image" Target="../media/image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1.emf"/><Relationship Id="rId5" Type="http://schemas.openxmlformats.org/officeDocument/2006/relationships/image" Target="../media/image5.pn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1.emf"/><Relationship Id="rId5" Type="http://schemas.openxmlformats.org/officeDocument/2006/relationships/image" Target="../media/image5.pn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1.bin"/><Relationship Id="rId4" Type="http://schemas.openxmlformats.org/officeDocument/2006/relationships/image" Target="../media/image1.emf"/><Relationship Id="rId5" Type="http://schemas.openxmlformats.org/officeDocument/2006/relationships/image" Target="../media/image8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3.bin"/><Relationship Id="rId4" Type="http://schemas.openxmlformats.org/officeDocument/2006/relationships/image" Target="../media/image1.emf"/><Relationship Id="rId5" Type="http://schemas.openxmlformats.org/officeDocument/2006/relationships/image" Target="../media/image9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4.bin"/><Relationship Id="rId4" Type="http://schemas.openxmlformats.org/officeDocument/2006/relationships/image" Target="../media/image1.emf"/><Relationship Id="rId5" Type="http://schemas.openxmlformats.org/officeDocument/2006/relationships/image" Target="../media/image10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5.bin"/><Relationship Id="rId4" Type="http://schemas.openxmlformats.org/officeDocument/2006/relationships/image" Target="../media/image1.emf"/><Relationship Id="rId5" Type="http://schemas.openxmlformats.org/officeDocument/2006/relationships/image" Target="../media/image6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6.bin"/><Relationship Id="rId4" Type="http://schemas.openxmlformats.org/officeDocument/2006/relationships/image" Target="../media/image1.emf"/><Relationship Id="rId5" Type="http://schemas.openxmlformats.org/officeDocument/2006/relationships/image" Target="../media/image3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7.bin"/><Relationship Id="rId4" Type="http://schemas.openxmlformats.org/officeDocument/2006/relationships/image" Target="../media/image1.emf"/><Relationship Id="rId5" Type="http://schemas.openxmlformats.org/officeDocument/2006/relationships/image" Target="../media/image11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8.bin"/><Relationship Id="rId4" Type="http://schemas.openxmlformats.org/officeDocument/2006/relationships/image" Target="../media/image12.emf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0.bin"/><Relationship Id="rId4" Type="http://schemas.openxmlformats.org/officeDocument/2006/relationships/image" Target="../media/image1.emf"/><Relationship Id="rId5" Type="http://schemas.openxmlformats.org/officeDocument/2006/relationships/image" Target="../media/image13.png"/><Relationship Id="rId6" Type="http://schemas.openxmlformats.org/officeDocument/2006/relationships/image" Target="../media/image14.png"/><Relationship Id="rId7" Type="http://schemas.openxmlformats.org/officeDocument/2006/relationships/image" Target="../media/image15.pn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1.bin"/><Relationship Id="rId4" Type="http://schemas.openxmlformats.org/officeDocument/2006/relationships/image" Target="../media/image1.emf"/><Relationship Id="rId5" Type="http://schemas.openxmlformats.org/officeDocument/2006/relationships/image" Target="../media/image16.jpeg"/><Relationship Id="rId6" Type="http://schemas.openxmlformats.org/officeDocument/2006/relationships/image" Target="../media/image14.png"/><Relationship Id="rId7" Type="http://schemas.openxmlformats.org/officeDocument/2006/relationships/image" Target="../media/image15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4.bin"/><Relationship Id="rId4" Type="http://schemas.openxmlformats.org/officeDocument/2006/relationships/image" Target="../media/image1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tags" Target="../tags/tag37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5.bin"/><Relationship Id="rId4" Type="http://schemas.openxmlformats.org/officeDocument/2006/relationships/image" Target="../media/image1.emf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6.bin"/><Relationship Id="rId4" Type="http://schemas.openxmlformats.org/officeDocument/2006/relationships/image" Target="../media/image1.emf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tags" Target="../tags/tag39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7.bin"/><Relationship Id="rId4" Type="http://schemas.openxmlformats.org/officeDocument/2006/relationships/image" Target="../media/image1.emf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8.bin"/><Relationship Id="rId4" Type="http://schemas.openxmlformats.org/officeDocument/2006/relationships/image" Target="../media/image1.emf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9.bin"/><Relationship Id="rId4" Type="http://schemas.openxmlformats.org/officeDocument/2006/relationships/image" Target="../media/image1.emf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42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40.bin"/><Relationship Id="rId4" Type="http://schemas.openxmlformats.org/officeDocument/2006/relationships/image" Target="../media/image1.emf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43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41.bin"/><Relationship Id="rId4" Type="http://schemas.openxmlformats.org/officeDocument/2006/relationships/image" Target="../media/image1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44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42.bin"/><Relationship Id="rId4" Type="http://schemas.openxmlformats.org/officeDocument/2006/relationships/image" Target="../media/image1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45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43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Relationship Id="rId5" Type="http://schemas.openxmlformats.org/officeDocument/2006/relationships/image" Target="../media/image3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Relationship Id="rId5" Type="http://schemas.openxmlformats.org/officeDocument/2006/relationships/image" Target="../media/image5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Relationship Id="rId5" Type="http://schemas.openxmlformats.org/officeDocument/2006/relationships/image" Target="../media/image6.jpeg"/><Relationship Id="rId6" Type="http://schemas.openxmlformats.org/officeDocument/2006/relationships/image" Target="../media/image5.png"/><Relationship Id="rId7" Type="http://schemas.openxmlformats.org/officeDocument/2006/relationships/image" Target="../media/image4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Relationship Id="rId5" Type="http://schemas.openxmlformats.org/officeDocument/2006/relationships/image" Target="../media/image5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el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62E02C-702B-11F9-40C8-948D1B23C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875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62E02C-702B-11F9-40C8-948D1B23C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5AD10B-C673-49E1-A471-F8119BAF38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rmAutofit/>
          </a:bodyPr>
          <a:lstStyle>
            <a:lvl1pPr algn="ctr" rtl="0">
              <a:defRPr sz="44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00745E8-2F24-438B-A3C7-97C34AB37E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rtl="0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Klik om de ondertitelstijl van het model te bewerken</a:t>
            </a:r>
          </a:p>
        </p:txBody>
      </p:sp>
      <p:sp>
        <p:nvSpPr>
          <p:cNvPr id="10" name="Tijdelijke aanduiding voor datum 3">
            <a:extLst>
              <a:ext uri="{FF2B5EF4-FFF2-40B4-BE49-F238E27FC236}">
                <a16:creationId xmlns:a16="http://schemas.microsoft.com/office/drawing/2014/main" id="{3E6FE74A-D8B8-5EA2-2C37-F8168E610B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Tijdelijke aanduiding voor voettekst 4">
            <a:extLst>
              <a:ext uri="{FF2B5EF4-FFF2-40B4-BE49-F238E27FC236}">
                <a16:creationId xmlns:a16="http://schemas.microsoft.com/office/drawing/2014/main" id="{69E16129-1481-BCFE-5254-3B6F089C6D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Tijdelijke aanduiding voor dianummer 5">
            <a:extLst>
              <a:ext uri="{FF2B5EF4-FFF2-40B4-BE49-F238E27FC236}">
                <a16:creationId xmlns:a16="http://schemas.microsoft.com/office/drawing/2014/main" id="{17C28332-4CEF-7658-52ED-BE47129ABF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837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0281077-DB9D-F2B4-C07D-CD627ECFF1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120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81077-DB9D-F2B4-C07D-CD627ECFF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1206A5F-3C2B-4658-9E72-B9CB600652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3AB3D04-03C2-4F02-86E1-5A3BBCCFD6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00634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03E7089-1760-4689-B925-47DE044055E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825625"/>
            <a:ext cx="499110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FE62641-9CB0-4018-83F6-5CD6CFF14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4A728CE9-379F-41AF-A971-5A658A5E9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D79F7630-C513-42C5-A748-1E3DF86AA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jdelijke aanduiding voor SmartArt 11"/>
          <p:cNvSpPr>
            <a:spLocks noGrp="1"/>
          </p:cNvSpPr>
          <p:nvPr>
            <p:ph type="dgm" sz="quarter" idx="14" hasCustomPrompt="1"/>
          </p:nvPr>
        </p:nvSpPr>
        <p:spPr>
          <a:xfrm>
            <a:off x="5989320" y="1844041"/>
            <a:ext cx="289560" cy="4343400"/>
          </a:xfrm>
          <a:solidFill>
            <a:schemeClr val="accent6">
              <a:alpha val="79000"/>
            </a:schemeClr>
          </a:solidFill>
          <a:ln>
            <a:noFill/>
          </a:ln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6601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F46EA2-4740-C1FC-943B-2281FC60F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561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F46EA2-4740-C1FC-943B-2281FC60F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B8137B-B5A3-497E-B62F-AA1E66C45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510BDB-4474-4389-A731-31E633FA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66D405-76EA-4EFE-9D63-1223ED0ED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8BA0BF5-FD54-4C5C-8EA7-41D935B2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4062" y="6595533"/>
            <a:ext cx="2743200" cy="19473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821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C987DD-651E-A60E-2C16-9CBFD53DA1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9410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C987DD-651E-A60E-2C16-9CBFD53DA1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93ED5A-5A34-3158-E945-F991BE1D6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515AE3-8E9F-CE4A-16C2-CB3E44302D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E22DA-100A-BB3C-724B-D71E824C6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AC627F-F321-9C11-22A9-9FFDB6CEE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9EAFA-9DF6-1D2B-7DEA-0952F9454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074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A67C557-A368-38B4-3EB2-FA74AF421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0834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67C557-A368-38B4-3EB2-FA74AF421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1163770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8384" y="1331495"/>
            <a:ext cx="8093376" cy="5074666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42809" y="2453534"/>
            <a:ext cx="4729162" cy="2906406"/>
          </a:xfrm>
          <a:prstGeom prst="rect">
            <a:avLst/>
          </a:prstGeom>
          <a:solidFill>
            <a:srgbClr val="68B445">
              <a:alpha val="85098"/>
            </a:srgbClr>
          </a:solidFill>
        </p:spPr>
        <p:txBody>
          <a:bodyPr lIns="216000" tIns="216000" rIns="216000" bIns="216000" anchor="ctr" anchorCtr="0">
            <a:normAutofit/>
          </a:bodyPr>
          <a:lstStyle>
            <a:lvl1pPr marL="0" indent="0" rtl="0">
              <a:buNone/>
              <a:defRPr sz="2400" b="1"/>
            </a:lvl1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185578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met kleur achtergr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3EAC5F9-5892-8DC5-D721-FBF91B9798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78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C5F9-5892-8DC5-D721-FBF91B979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hoek 1"/>
          <p:cNvSpPr/>
          <p:nvPr userDrawn="1"/>
        </p:nvSpPr>
        <p:spPr>
          <a:xfrm>
            <a:off x="904240" y="1341120"/>
            <a:ext cx="8717280" cy="50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1163770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30304" y="1607819"/>
            <a:ext cx="6376336" cy="4282721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795462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itel met 2 tekstblokke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42666D-6F3A-25FC-4D47-169CC61DC8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10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42666D-6F3A-25FC-4D47-169CC61DC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1163770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8383" y="1331495"/>
            <a:ext cx="6826285" cy="5074666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15">
            <a:extLst>
              <a:ext uri="{FF2B5EF4-FFF2-40B4-BE49-F238E27FC236}">
                <a16:creationId xmlns:a16="http://schemas.microsoft.com/office/drawing/2014/main" id="{0758322C-7699-40FD-BD87-D8D1DF8331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04800" y="3139334"/>
            <a:ext cx="3324046" cy="2118466"/>
          </a:xfrm>
          <a:prstGeom prst="rect">
            <a:avLst/>
          </a:prstGeom>
          <a:noFill/>
        </p:spPr>
        <p:txBody>
          <a:bodyPr lIns="72000" tIns="216000" rIns="216000" bIns="216000" anchor="t" anchorCtr="0">
            <a:normAutofit/>
          </a:bodyPr>
          <a:lstStyle>
            <a:lvl1pPr marL="0" indent="0" rtl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HIER KOMT EEN ONDERTITEL ALS VERSTERKING VAN DE FOTO HIERNAAST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52598055-CD38-4C63-B2E7-9C04561115CD}"/>
              </a:ext>
            </a:extLst>
          </p:cNvPr>
          <p:cNvCxnSpPr>
            <a:cxnSpLocks/>
          </p:cNvCxnSpPr>
          <p:nvPr userDrawn="1"/>
        </p:nvCxnSpPr>
        <p:spPr>
          <a:xfrm>
            <a:off x="8071485" y="3133725"/>
            <a:ext cx="2920545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F43C582C-D141-4960-A1E3-6A7052C9B0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7981" y="1657033"/>
            <a:ext cx="3324046" cy="1401762"/>
          </a:xfrm>
        </p:spPr>
        <p:txBody>
          <a:bodyPr anchor="b"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HIER EEN EXTRA KOP</a:t>
            </a:r>
          </a:p>
        </p:txBody>
      </p:sp>
    </p:spTree>
    <p:extLst>
      <p:ext uri="{BB962C8B-B14F-4D97-AF65-F5344CB8AC3E}">
        <p14:creationId xmlns:p14="http://schemas.microsoft.com/office/powerpoint/2010/main" val="10951804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met 2 tekstblokke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B5A1318-296A-1DA2-FE17-0442C4DE8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8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5A1318-296A-1DA2-FE17-0442C4DE86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544645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8384" y="712370"/>
            <a:ext cx="6458726" cy="5074666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96190" y="3139334"/>
            <a:ext cx="3555838" cy="2118466"/>
          </a:xfrm>
          <a:prstGeom prst="rect">
            <a:avLst/>
          </a:prstGeom>
          <a:noFill/>
        </p:spPr>
        <p:txBody>
          <a:bodyPr lIns="72000" tIns="216000" rIns="216000" bIns="216000" anchor="t" anchorCtr="0">
            <a:normAutofit/>
          </a:bodyPr>
          <a:lstStyle>
            <a:lvl1pPr marL="0" indent="0" rtl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HIER KOMT EEN ONDERTITEL ALS VERSTERKING VAN DE FOTO HIERNAAST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96190" y="1009650"/>
            <a:ext cx="3657610" cy="202882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B4A0C17C-375C-4BC2-8D4D-D368DDE940EC}"/>
              </a:ext>
            </a:extLst>
          </p:cNvPr>
          <p:cNvCxnSpPr/>
          <p:nvPr userDrawn="1"/>
        </p:nvCxnSpPr>
        <p:spPr>
          <a:xfrm>
            <a:off x="7762875" y="3133725"/>
            <a:ext cx="3124200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98708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ekst links ro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7038481-05A8-A5E6-7063-7D116F44B6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412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038481-05A8-A5E6-7063-7D116F44B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4844120" y="1310541"/>
            <a:ext cx="6459294" cy="4572673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5112" y="2453534"/>
            <a:ext cx="4729162" cy="2906406"/>
          </a:xfrm>
          <a:prstGeom prst="rect">
            <a:avLst/>
          </a:prstGeom>
          <a:solidFill>
            <a:schemeClr val="accent1">
              <a:alpha val="85098"/>
            </a:schemeClr>
          </a:solidFill>
        </p:spPr>
        <p:txBody>
          <a:bodyPr lIns="216000" tIns="216000" rIns="216000" bIns="216000"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KLIK OM HIER TEKST TOE TE VOEG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 cap="all" baseline="0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3538335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ekst links g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E1E525F-AA7A-771D-2F66-E447CD03B6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117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E525F-AA7A-771D-2F66-E447CD03B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3154680" y="1310541"/>
            <a:ext cx="8148734" cy="4572673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5112" y="2453534"/>
            <a:ext cx="4729162" cy="2906406"/>
          </a:xfrm>
          <a:prstGeom prst="rect">
            <a:avLst/>
          </a:prstGeom>
          <a:solidFill>
            <a:schemeClr val="accent5">
              <a:alpha val="85098"/>
            </a:schemeClr>
          </a:solidFill>
        </p:spPr>
        <p:txBody>
          <a:bodyPr lIns="216000" tIns="216000" rIns="216000" bIns="216000" anchor="ctr" anchorCtr="0">
            <a:normAutofit/>
          </a:bodyPr>
          <a:lstStyle>
            <a:lvl1pPr marL="0" indent="0" algn="l" rtl="0">
              <a:buNone/>
              <a:defRPr sz="2400" b="1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KLIK OM HIER TEKST TOE TE VOEG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5527067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met tekstblok er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862466F-9E3D-B342-8420-B27197168A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1297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62466F-9E3D-B342-8420-B27197168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>
            <a:extLst>
              <a:ext uri="{FF2B5EF4-FFF2-40B4-BE49-F238E27FC236}">
                <a16:creationId xmlns:a16="http://schemas.microsoft.com/office/drawing/2014/main" id="{EAFA400B-2CA4-472A-8D9C-F7BB71D480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09" y="1153935"/>
            <a:ext cx="7120816" cy="4748160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380" y="1322628"/>
            <a:ext cx="10406410" cy="44124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9525" y="3209330"/>
            <a:ext cx="3654501" cy="2033079"/>
          </a:xfrm>
          <a:prstGeom prst="rect">
            <a:avLst/>
          </a:prstGeom>
          <a:solidFill>
            <a:schemeClr val="bg1">
              <a:alpha val="85098"/>
            </a:schemeClr>
          </a:solidFill>
        </p:spPr>
        <p:txBody>
          <a:bodyPr lIns="216000" tIns="216000" rIns="216000" bIns="216000" anchor="ctr" anchorCtr="0">
            <a:normAutofit/>
          </a:bodyPr>
          <a:lstStyle>
            <a:lvl1pPr marL="0" indent="0" algn="ctr" rtl="0">
              <a:buNone/>
              <a:defRPr sz="2000" b="1"/>
            </a:lvl1pPr>
          </a:lstStyle>
          <a:p>
            <a:pPr lvl="0"/>
            <a:r>
              <a:rPr lang="en-GB"/>
              <a:t>KLIK OM HIER TEKST TOE TE VOEG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sz="3600" b="1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4171568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B7585CD-1826-10E6-46DA-380F88D96E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055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7585CD-1826-10E6-46DA-380F88D96E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15" y="1162231"/>
            <a:ext cx="7120816" cy="4808232"/>
          </a:xfrm>
          <a:prstGeom prst="rect">
            <a:avLst/>
          </a:prstGeom>
        </p:spPr>
      </p:pic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7993062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8514B36A-A774-6F6B-9D40-73189A91A9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Tijdelijke aanduiding voor voettekst 4">
            <a:extLst>
              <a:ext uri="{FF2B5EF4-FFF2-40B4-BE49-F238E27FC236}">
                <a16:creationId xmlns:a16="http://schemas.microsoft.com/office/drawing/2014/main" id="{2E38FD88-9BCD-0E99-BCA6-7F84727BB6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F047E246-0214-4DE7-E813-C320B0157E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789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G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D2D9AEA-1518-8E14-DF18-280D4E6E5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21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2D9AEA-1518-8E14-DF18-280D4E6E5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Afbeelding 17">
            <a:extLst>
              <a:ext uri="{FF2B5EF4-FFF2-40B4-BE49-F238E27FC236}">
                <a16:creationId xmlns:a16="http://schemas.microsoft.com/office/drawing/2014/main" id="{1868C59E-CEA5-4F03-B06F-E3EEFA59DB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5" t="86" r="-2850" b="32960"/>
          <a:stretch/>
        </p:blipFill>
        <p:spPr>
          <a:xfrm rot="32400000">
            <a:off x="0" y="-2"/>
            <a:ext cx="12192000" cy="6858001"/>
          </a:xfrm>
          <a:prstGeom prst="rect">
            <a:avLst/>
          </a:prstGeom>
        </p:spPr>
      </p:pic>
      <p:sp>
        <p:nvSpPr>
          <p:cNvPr id="19" name="Rechthoek 18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616421" y="0"/>
            <a:ext cx="4181826" cy="6515096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21" name="Groep 20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5"/>
          </a:solidFill>
        </p:grpSpPr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sp>
          <p:nvSpPr>
            <p:cNvPr id="23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8854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  <p:cxnSp>
          <p:nvCxnSpPr>
            <p:cNvPr id="24" name="Rechte verbindingslijn 23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6" name="Tijdelijke aanduiding voor tekst 5">
              <a:extLst>
                <a:ext uri="{FF2B5EF4-FFF2-40B4-BE49-F238E27FC236}">
                  <a16:creationId xmlns:a16="http://schemas.microsoft.com/office/drawing/2014/main" id="{3AE4FCB7-910C-42C3-85B8-77647EB13F47}"/>
                </a:ext>
              </a:extLst>
            </p:cNvPr>
            <p:cNvSpPr txBox="1">
              <a:spLocks/>
            </p:cNvSpPr>
            <p:nvPr/>
          </p:nvSpPr>
          <p:spPr>
            <a:xfrm>
              <a:off x="2398057" y="2314033"/>
              <a:ext cx="4832350" cy="674688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CORPORATE PRESENTATION</a:t>
              </a:r>
            </a:p>
          </p:txBody>
        </p:sp>
        <p:sp>
          <p:nvSpPr>
            <p:cNvPr id="27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73565" y="2913778"/>
              <a:ext cx="4957208" cy="753574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</p:grpSp>
      <p:grpSp>
        <p:nvGrpSpPr>
          <p:cNvPr id="30" name="Groep 29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83466" y="1745427"/>
            <a:ext cx="5665897" cy="3180280"/>
            <a:chOff x="2048025" y="1738850"/>
            <a:chExt cx="5665897" cy="3180280"/>
          </a:xfrm>
          <a:solidFill>
            <a:schemeClr val="accent5"/>
          </a:solidFill>
        </p:grpSpPr>
        <p:sp>
          <p:nvSpPr>
            <p:cNvPr id="31" name="Rechthoek 30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sp>
          <p:nvSpPr>
            <p:cNvPr id="32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8854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Rechte verbindingslijn 33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73565" y="2913778"/>
              <a:ext cx="4957208" cy="753574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</p:grpSp>
      <p:sp>
        <p:nvSpPr>
          <p:cNvPr id="38" name="Tijdelijke aanduiding voor tekst 37"/>
          <p:cNvSpPr>
            <a:spLocks noGrp="1"/>
          </p:cNvSpPr>
          <p:nvPr>
            <p:ph type="body" sz="quarter" idx="10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1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28" name="Afbeelding 27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0371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Fru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45D84D5-59E2-6449-23E8-90335EEC5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659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5D84D5-59E2-6449-23E8-90335EEC5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Afbeelding 5">
            <a:extLst>
              <a:ext uri="{FF2B5EF4-FFF2-40B4-BE49-F238E27FC236}">
                <a16:creationId xmlns:a16="http://schemas.microsoft.com/office/drawing/2014/main" id="{CDCE3153-2095-4316-8842-2D68E7070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42" t="14455" r="13114" b="6934"/>
          <a:stretch/>
        </p:blipFill>
        <p:spPr>
          <a:xfrm rot="18250209">
            <a:off x="3756377" y="1781479"/>
            <a:ext cx="10409633" cy="4287834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244624" y="0"/>
            <a:ext cx="4625405" cy="6515096"/>
          </a:xfrm>
          <a:prstGeom prst="rect">
            <a:avLst/>
          </a:prstGeom>
          <a:solidFill>
            <a:schemeClr val="accent2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4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89743" y="2922090"/>
              <a:ext cx="4969381" cy="778809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27945" y="3892675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sp>
        <p:nvSpPr>
          <p:cNvPr id="17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16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9294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Fruit Horizont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D76D89-1B04-087F-EAD3-5D99DC4590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706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D76D89-1B04-087F-EAD3-5D99DC459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Afbeelding 5">
            <a:extLst>
              <a:ext uri="{FF2B5EF4-FFF2-40B4-BE49-F238E27FC236}">
                <a16:creationId xmlns:a16="http://schemas.microsoft.com/office/drawing/2014/main" id="{CDCE3153-2095-4316-8842-2D68E7070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0" t="14456" r="17524" b="4174"/>
          <a:stretch/>
        </p:blipFill>
        <p:spPr>
          <a:xfrm>
            <a:off x="-1" y="803935"/>
            <a:ext cx="12192001" cy="6054065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616421" y="0"/>
            <a:ext cx="4253608" cy="6858000"/>
          </a:xfrm>
          <a:prstGeom prst="rect">
            <a:avLst/>
          </a:prstGeom>
          <a:solidFill>
            <a:schemeClr val="accent5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3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422548" y="2913777"/>
              <a:ext cx="4870551" cy="745409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8854"/>
              <a:ext cx="4832350" cy="674688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grpSp>
        <p:nvGrpSpPr>
          <p:cNvPr id="18" name="Groep 17">
            <a:extLst>
              <a:ext uri="{FF2B5EF4-FFF2-40B4-BE49-F238E27FC236}">
                <a16:creationId xmlns:a16="http://schemas.microsoft.com/office/drawing/2014/main" id="{82A54EE8-927C-41E9-9E26-B07AF5F7C1BE}"/>
              </a:ext>
            </a:extLst>
          </p:cNvPr>
          <p:cNvGrpSpPr/>
          <p:nvPr userDrawn="1"/>
        </p:nvGrpSpPr>
        <p:grpSpPr>
          <a:xfrm>
            <a:off x="3265018" y="4096060"/>
            <a:ext cx="4378537" cy="0"/>
            <a:chOff x="3289510" y="4079732"/>
            <a:chExt cx="4378537" cy="0"/>
          </a:xfrm>
        </p:grpSpPr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F6B7F63B-8EAE-4683-B5EF-5BF689487812}"/>
                </a:ext>
              </a:extLst>
            </p:cNvPr>
            <p:cNvCxnSpPr>
              <a:cxnSpLocks/>
            </p:cNvCxnSpPr>
            <p:nvPr/>
          </p:nvCxnSpPr>
          <p:spPr>
            <a:xfrm>
              <a:off x="3289510" y="4079732"/>
              <a:ext cx="745066" cy="0"/>
            </a:xfrm>
            <a:prstGeom prst="line">
              <a:avLst/>
            </a:prstGeom>
            <a:solidFill>
              <a:schemeClr val="accent5"/>
            </a:solidFill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29D796CF-1605-4065-9A04-C1BD795134AB}"/>
                </a:ext>
              </a:extLst>
            </p:cNvPr>
            <p:cNvCxnSpPr>
              <a:cxnSpLocks/>
            </p:cNvCxnSpPr>
            <p:nvPr/>
          </p:nvCxnSpPr>
          <p:spPr>
            <a:xfrm>
              <a:off x="6922981" y="4079732"/>
              <a:ext cx="745066" cy="0"/>
            </a:xfrm>
            <a:prstGeom prst="line">
              <a:avLst/>
            </a:prstGeom>
            <a:solidFill>
              <a:schemeClr val="accent5"/>
            </a:solidFill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1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22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7149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na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AE352F2-96D8-CEEF-7832-DEDF7A0601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45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E352F2-96D8-CEEF-7832-DEDF7A0601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9B29038B-858A-4B1B-A857-DBB4B79FA5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31" r="-1692" b="28871"/>
          <a:stretch/>
        </p:blipFill>
        <p:spPr>
          <a:xfrm>
            <a:off x="3959107" y="0"/>
            <a:ext cx="7440024" cy="6858000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444455" y="0"/>
            <a:ext cx="4425574" cy="6515096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5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422548" y="2913778"/>
              <a:ext cx="4870551" cy="674688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9529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sp>
        <p:nvSpPr>
          <p:cNvPr id="18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19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534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voc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A0F0454-8F9C-4AF1-DF4A-3D697993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4883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0F0454-8F9C-4AF1-DF4A-3D697993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71418760-54B3-4940-9581-81D25D4E1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67" t="11288" r="11279" b="27080"/>
          <a:stretch/>
        </p:blipFill>
        <p:spPr>
          <a:xfrm rot="20473291">
            <a:off x="-525014" y="808552"/>
            <a:ext cx="12266614" cy="8172106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616421" y="0"/>
            <a:ext cx="4253608" cy="6515096"/>
          </a:xfrm>
          <a:prstGeom prst="rect">
            <a:avLst/>
          </a:prstGeom>
          <a:solidFill>
            <a:schemeClr val="accent3">
              <a:lumMod val="60000"/>
              <a:lumOff val="40000"/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37114"/>
            <a:ext cx="5665897" cy="3180280"/>
            <a:chOff x="2048025" y="1730537"/>
            <a:chExt cx="5665897" cy="3180280"/>
          </a:xfrm>
          <a:solidFill>
            <a:schemeClr val="accent5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0537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51117" y="2899738"/>
              <a:ext cx="5002632" cy="803747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884362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sp>
        <p:nvSpPr>
          <p:cNvPr id="18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19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9342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37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Tijdelijke aanduiding voor dianummer 5">
            <a:extLst>
              <a:ext uri="{FF2B5EF4-FFF2-40B4-BE49-F238E27FC236}">
                <a16:creationId xmlns:a16="http://schemas.microsoft.com/office/drawing/2014/main" id="{FB7F8643-CE41-75AB-2FC0-2CD31E7FA5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1084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F46EA2-4740-C1FC-943B-2281FC60F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561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F46EA2-4740-C1FC-943B-2281FC60F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B8137B-B5A3-497E-B62F-AA1E66C45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510BDB-4474-4389-A731-31E633FA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66D405-76EA-4EFE-9D63-1223ED0ED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8BA0BF5-FD54-4C5C-8EA7-41D935B2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4062" y="6595533"/>
            <a:ext cx="2743200" cy="19473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38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it - fru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3497E4B-8B80-2B0F-5899-8CEBA4A513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530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497E4B-8B80-2B0F-5899-8CEBA4A51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71" b="17383"/>
          <a:stretch/>
        </p:blipFill>
        <p:spPr bwMode="auto">
          <a:xfrm>
            <a:off x="897239" y="714059"/>
            <a:ext cx="11294761" cy="5000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EAFA400B-2CA4-472A-8D9C-F7BB71D480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09" y="533400"/>
            <a:ext cx="7120816" cy="5368695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599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F3A432C6-EB1B-4EFA-9A24-C4400B72F3F5}"/>
              </a:ext>
            </a:extLst>
          </p:cNvPr>
          <p:cNvSpPr txBox="1">
            <a:spLocks/>
          </p:cNvSpPr>
          <p:nvPr userDrawn="1"/>
        </p:nvSpPr>
        <p:spPr>
          <a:xfrm>
            <a:off x="6696018" y="939798"/>
            <a:ext cx="4028426" cy="1682077"/>
          </a:xfrm>
          <a:prstGeom prst="rect">
            <a:avLst/>
          </a:prstGeom>
          <a:noFill/>
        </p:spPr>
        <p:txBody>
          <a:bodyPr vert="horz" lIns="216000" tIns="216000" rIns="216000" bIns="216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No. 1 Trendsetter </a:t>
            </a:r>
            <a:b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</a:br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in cold pressed drinks, straight from nature. </a:t>
            </a: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9B6702B2-E05B-44D7-BF73-9F69C85895DC}"/>
              </a:ext>
            </a:extLst>
          </p:cNvPr>
          <p:cNvSpPr/>
          <p:nvPr userDrawn="1"/>
        </p:nvSpPr>
        <p:spPr>
          <a:xfrm>
            <a:off x="7055398" y="3307823"/>
            <a:ext cx="3249649" cy="2610377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>
              <a:latin typeface="HelveticaNeueLT Pro 57 Cn" panose="020B0506030502020204" pitchFamily="34" charset="0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E16DFB4-259A-44D3-BC0A-41681CD967F0}"/>
              </a:ext>
            </a:extLst>
          </p:cNvPr>
          <p:cNvSpPr/>
          <p:nvPr userDrawn="1"/>
        </p:nvSpPr>
        <p:spPr>
          <a:xfrm>
            <a:off x="7055398" y="3432002"/>
            <a:ext cx="324964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GB" sz="2000" b="1">
                <a:solidFill>
                  <a:schemeClr val="bg1"/>
                </a:solidFill>
                <a:latin typeface="HelveticaNeueLT Pro 57 Cn" panose="020B0506030502020204" pitchFamily="34" charset="0"/>
                <a:cs typeface="Helvetica Neue Light"/>
              </a:rPr>
              <a:t>CONTACT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FRUITY LINE B.V.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CUNERAWEG 9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4051 CE OCHTEN – NL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T: +31 (0) 344 67 20 30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WWW.FRUITY-LINE.NL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328" y="2468880"/>
            <a:ext cx="3895787" cy="54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5424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it - granaatap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FB15E5C-B0DB-3FA9-16D8-9423A6027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90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15E5C-B0DB-3FA9-16D8-9423A6027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 descr="M:\data\algemeen\Foto Database\Stockfoto's\shutterstock_73241550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243" y="714375"/>
            <a:ext cx="8920798" cy="5008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EAFA400B-2CA4-472A-8D9C-F7BB71D480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09" y="533400"/>
            <a:ext cx="7120816" cy="5368695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599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F3A432C6-EB1B-4EFA-9A24-C4400B72F3F5}"/>
              </a:ext>
            </a:extLst>
          </p:cNvPr>
          <p:cNvSpPr txBox="1">
            <a:spLocks/>
          </p:cNvSpPr>
          <p:nvPr userDrawn="1"/>
        </p:nvSpPr>
        <p:spPr>
          <a:xfrm>
            <a:off x="6696018" y="939798"/>
            <a:ext cx="4028426" cy="1682077"/>
          </a:xfrm>
          <a:prstGeom prst="rect">
            <a:avLst/>
          </a:prstGeom>
          <a:noFill/>
        </p:spPr>
        <p:txBody>
          <a:bodyPr vert="horz" lIns="216000" tIns="216000" rIns="216000" bIns="216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No. 1 Trendsetter </a:t>
            </a:r>
            <a:b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</a:br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in cold pressed drinks, straight from nature. </a:t>
            </a: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9B6702B2-E05B-44D7-BF73-9F69C85895DC}"/>
              </a:ext>
            </a:extLst>
          </p:cNvPr>
          <p:cNvSpPr/>
          <p:nvPr userDrawn="1"/>
        </p:nvSpPr>
        <p:spPr>
          <a:xfrm>
            <a:off x="7055398" y="3307823"/>
            <a:ext cx="3249649" cy="2610377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>
              <a:latin typeface="HelveticaNeueLT Pro 57 Cn" panose="020B0506030502020204" pitchFamily="34" charset="0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E16DFB4-259A-44D3-BC0A-41681CD967F0}"/>
              </a:ext>
            </a:extLst>
          </p:cNvPr>
          <p:cNvSpPr/>
          <p:nvPr userDrawn="1"/>
        </p:nvSpPr>
        <p:spPr>
          <a:xfrm>
            <a:off x="7055398" y="3432002"/>
            <a:ext cx="324964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GB" sz="2000" b="1">
                <a:solidFill>
                  <a:schemeClr val="bg1"/>
                </a:solidFill>
                <a:latin typeface="HelveticaNeueLT Pro 57 Cn" panose="020B0506030502020204" pitchFamily="34" charset="0"/>
                <a:cs typeface="Helvetica Neue Light"/>
              </a:rPr>
              <a:t>CONTACT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FRUITY LINE B.V.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CUNERAWEG 9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4051 CE OCHTEN – NL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T: +31 (0) 344 67 20 30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WWW.FRUITY-LINE.NL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328" y="2468880"/>
            <a:ext cx="3895787" cy="54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8460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C917CE9-B90B-E272-2A4F-CFF5199F08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3036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917CE9-B90B-E272-2A4F-CFF5199F08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3200" cy="147002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Klik om de ondertitel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187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 k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D8A09A3-2D6D-8FA1-E0EF-09FB9DA86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289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8A09A3-2D6D-8FA1-E0EF-09FB9DA86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 userDrawn="1"/>
        </p:nvSpPr>
        <p:spPr>
          <a:xfrm>
            <a:off x="5598160" y="0"/>
            <a:ext cx="4206240" cy="6461760"/>
          </a:xfrm>
          <a:prstGeom prst="rect">
            <a:avLst/>
          </a:prstGeom>
          <a:solidFill>
            <a:schemeClr val="accent2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15" y="1162231"/>
            <a:ext cx="7120816" cy="4808232"/>
          </a:xfrm>
          <a:prstGeom prst="rect">
            <a:avLst/>
          </a:prstGeom>
        </p:spPr>
      </p:pic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7993062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796757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7154E68-C0E5-94F4-E9D0-EFD90DBB9A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47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154E68-C0E5-94F4-E9D0-EFD90DBB9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92171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FF355F2-8DB8-529D-B585-04E4BE971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330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F355F2-8DB8-529D-B585-04E4BE971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63613" y="4406900"/>
            <a:ext cx="10363200" cy="1362075"/>
          </a:xfrm>
        </p:spPr>
        <p:txBody>
          <a:bodyPr vert="horz" anchor="t"/>
          <a:lstStyle>
            <a:lvl1pPr algn="l" rtl="0">
              <a:defRPr sz="4000" b="1" cap="all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963613" y="2906713"/>
            <a:ext cx="10363200" cy="150018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12107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E3DD9D1-BAC7-CF1B-EFC7-77F598977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23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DD9D1-BAC7-CF1B-EFC7-77F598977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609600" y="1600200"/>
            <a:ext cx="5410200" cy="4525963"/>
          </a:xfrm>
        </p:spPr>
        <p:txBody>
          <a:bodyPr/>
          <a:lstStyle>
            <a:lvl1pPr rtl="0">
              <a:defRPr sz="2800"/>
            </a:lvl1pPr>
            <a:lvl2pPr rtl="0">
              <a:defRPr sz="2400"/>
            </a:lvl2pPr>
            <a:lvl3pPr rtl="0">
              <a:defRPr sz="2000"/>
            </a:lvl3pPr>
            <a:lvl4pPr rtl="0">
              <a:defRPr sz="1800"/>
            </a:lvl4pPr>
            <a:lvl5pPr rtl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6172200" y="1600200"/>
            <a:ext cx="5410200" cy="4525963"/>
          </a:xfrm>
        </p:spPr>
        <p:txBody>
          <a:bodyPr/>
          <a:lstStyle>
            <a:lvl1pPr rtl="0">
              <a:defRPr sz="2800"/>
            </a:lvl1pPr>
            <a:lvl2pPr rtl="0">
              <a:defRPr sz="2400"/>
            </a:lvl2pPr>
            <a:lvl3pPr rtl="0">
              <a:defRPr sz="2000"/>
            </a:lvl3pPr>
            <a:lvl4pPr rtl="0">
              <a:defRPr sz="1800"/>
            </a:lvl4pPr>
            <a:lvl5pPr rtl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7135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D6C8C75-684F-F7B4-5265-D03B647C4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1785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6C8C75-684F-F7B4-5265-D03B647C4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09600" y="1535113"/>
            <a:ext cx="5386388" cy="63976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609600" y="2174875"/>
            <a:ext cx="5386388" cy="3951288"/>
          </a:xfrm>
        </p:spPr>
        <p:txBody>
          <a:bodyPr/>
          <a:lstStyle>
            <a:lvl1pPr rtl="0">
              <a:defRPr sz="2400"/>
            </a:lvl1pPr>
            <a:lvl2pPr rtl="0">
              <a:defRPr sz="2000"/>
            </a:lvl2pPr>
            <a:lvl3pPr rtl="0">
              <a:defRPr sz="1800"/>
            </a:lvl3pPr>
            <a:lvl4pPr rtl="0">
              <a:defRPr sz="1600"/>
            </a:lvl4pPr>
            <a:lvl5pPr rtl="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6192838" y="1535113"/>
            <a:ext cx="5389562" cy="63976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 hasCustomPrompt="1"/>
          </p:nvPr>
        </p:nvSpPr>
        <p:spPr>
          <a:xfrm>
            <a:off x="6192838" y="2174875"/>
            <a:ext cx="5389562" cy="3951288"/>
          </a:xfrm>
        </p:spPr>
        <p:txBody>
          <a:bodyPr/>
          <a:lstStyle>
            <a:lvl1pPr rtl="0">
              <a:defRPr sz="2400"/>
            </a:lvl1pPr>
            <a:lvl2pPr rtl="0">
              <a:defRPr sz="2000"/>
            </a:lvl2pPr>
            <a:lvl3pPr rtl="0">
              <a:defRPr sz="1800"/>
            </a:lvl3pPr>
            <a:lvl4pPr rtl="0">
              <a:defRPr sz="1600"/>
            </a:lvl4pPr>
            <a:lvl5pPr rtl="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5487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765F781-AB6F-A7F6-9BC8-4EFE02C592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3527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65F781-AB6F-A7F6-9BC8-4EFE02C592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35638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9A1F674-37C7-1619-AAFA-D07FDD7389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09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1F674-37C7-1619-AAFA-D07FDD738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68653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F1F7CEE-8CCE-A7FB-415D-D260689BC5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3195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1F7CEE-8CCE-A7FB-415D-D260689BC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" y="273050"/>
            <a:ext cx="4011613" cy="1162050"/>
          </a:xfrm>
        </p:spPr>
        <p:txBody>
          <a:bodyPr vert="horz" anchor="b"/>
          <a:lstStyle>
            <a:lvl1pPr algn="l" rtl="0">
              <a:defRPr sz="2000"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4767263" y="273050"/>
            <a:ext cx="6815137" cy="5853113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435100"/>
            <a:ext cx="4011613" cy="4691063"/>
          </a:xfrm>
        </p:spPr>
        <p:txBody>
          <a:bodyPr/>
          <a:lstStyle>
            <a:lvl1pPr marL="0" indent="0" rtl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64910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B6B92D-5F05-1826-1D9D-5F06D2F15B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108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B6B92D-5F05-1826-1D9D-5F06D2F15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389188" y="4800600"/>
            <a:ext cx="7315200" cy="566738"/>
          </a:xfrm>
        </p:spPr>
        <p:txBody>
          <a:bodyPr vert="horz" anchor="b"/>
          <a:lstStyle>
            <a:lvl1pPr algn="l" rtl="0">
              <a:defRPr sz="2000"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2389188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2389188" y="5367338"/>
            <a:ext cx="7315200" cy="804862"/>
          </a:xfrm>
        </p:spPr>
        <p:txBody>
          <a:bodyPr/>
          <a:lstStyle>
            <a:lvl1pPr marL="0" indent="0" rtl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3063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49CB537-4BE4-C294-D405-7576EDE254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080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9CB537-4BE4-C294-D405-7576EDE254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5911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45E792-3A16-8565-A675-8E9FBACC00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28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45E792-3A16-8565-A675-8E9FBACC0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e titel 1"/>
          <p:cNvSpPr>
            <a:spLocks noGrp="1"/>
          </p:cNvSpPr>
          <p:nvPr>
            <p:ph type="title" orient="vert" hasCustomPrompt="1"/>
          </p:nvPr>
        </p:nvSpPr>
        <p:spPr>
          <a:xfrm>
            <a:off x="8839200" y="274638"/>
            <a:ext cx="2743200" cy="5851525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609600" y="274638"/>
            <a:ext cx="8077200" cy="5851525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3009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 Ana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2D26BF1-B81C-FAE7-3217-0CC927E6AE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477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D26BF1-B81C-FAE7-3217-0CC927E6AE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>
            <a:extLst>
              <a:ext uri="{FF2B5EF4-FFF2-40B4-BE49-F238E27FC236}">
                <a16:creationId xmlns:a16="http://schemas.microsoft.com/office/drawing/2014/main" id="{9B29038B-858A-4B1B-A857-DBB4B79FA5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31" r="-1692" b="28871"/>
          <a:stretch/>
        </p:blipFill>
        <p:spPr>
          <a:xfrm>
            <a:off x="3959107" y="0"/>
            <a:ext cx="7440024" cy="6858000"/>
          </a:xfrm>
          <a:prstGeom prst="rect">
            <a:avLst/>
          </a:prstGeom>
        </p:spPr>
      </p:pic>
      <p:sp>
        <p:nvSpPr>
          <p:cNvPr id="11" name="Rechthoek 10"/>
          <p:cNvSpPr/>
          <p:nvPr userDrawn="1"/>
        </p:nvSpPr>
        <p:spPr>
          <a:xfrm>
            <a:off x="5598160" y="0"/>
            <a:ext cx="4206240" cy="6461760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15" y="1162231"/>
            <a:ext cx="7120816" cy="4808232"/>
          </a:xfrm>
          <a:prstGeom prst="rect">
            <a:avLst/>
          </a:prstGeom>
        </p:spPr>
      </p:pic>
      <p:sp>
        <p:nvSpPr>
          <p:cNvPr id="10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7993062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14" name="Tijdelijke aanduiding voor datum 13"/>
          <p:cNvSpPr>
            <a:spLocks noGrp="1"/>
          </p:cNvSpPr>
          <p:nvPr>
            <p:ph type="dt" sz="half" idx="15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15" name="Tijdelijke aanduiding voor voettekst 14"/>
          <p:cNvSpPr>
            <a:spLocks noGrp="1"/>
          </p:cNvSpPr>
          <p:nvPr>
            <p:ph type="ftr" sz="quarter" idx="16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16" name="Tijdelijke aanduiding voor dianummer 15"/>
          <p:cNvSpPr>
            <a:spLocks noGrp="1"/>
          </p:cNvSpPr>
          <p:nvPr>
            <p:ph type="sldNum" sz="quarter" idx="17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6F6F80BB-2DF4-4DEF-AEBC-FB09704812B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621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Foto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5B0FA40-32F1-3959-7486-9DA62730DE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8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B0FA40-32F1-3959-7486-9DA62730D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6352857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4" hasCustomPrompt="1"/>
          </p:nvPr>
        </p:nvSpPr>
        <p:spPr>
          <a:xfrm>
            <a:off x="7407275" y="1371600"/>
            <a:ext cx="3860800" cy="4410075"/>
          </a:xfrm>
        </p:spPr>
        <p:txBody>
          <a:bodyPr/>
          <a:lstStyle>
            <a:lvl1pPr rtl="0">
              <a:defRPr baseline="0"/>
            </a:lvl1pPr>
          </a:lstStyle>
          <a:p>
            <a:r>
              <a:rPr lang="en-GB"/>
              <a:t>Klik op het pictogram om een afbeelding toe te voegen</a:t>
            </a:r>
          </a:p>
        </p:txBody>
      </p:sp>
    </p:spTree>
    <p:extLst>
      <p:ext uri="{BB962C8B-B14F-4D97-AF65-F5344CB8AC3E}">
        <p14:creationId xmlns:p14="http://schemas.microsoft.com/office/powerpoint/2010/main" val="601824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foto achtergrond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A8497D0-C3BE-B10B-BBF6-6E94577534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327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8497D0-C3BE-B10B-BBF6-6E94577534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Afbeelding 9">
            <a:extLst>
              <a:ext uri="{FF2B5EF4-FFF2-40B4-BE49-F238E27FC236}">
                <a16:creationId xmlns:a16="http://schemas.microsoft.com/office/drawing/2014/main" id="{CDCE3153-2095-4316-8842-2D68E7070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0" t="14456" r="17524" b="4174"/>
          <a:stretch/>
        </p:blipFill>
        <p:spPr>
          <a:xfrm>
            <a:off x="-1" y="1163770"/>
            <a:ext cx="12192001" cy="5694230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6352857" cy="4373562"/>
          </a:xfrm>
          <a:solidFill>
            <a:schemeClr val="bg1">
              <a:alpha val="85000"/>
            </a:schemeClr>
          </a:solidFill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6F6F80BB-2DF4-4DEF-AEBC-FB09704812B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4327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F89A51-E3E8-EDBC-1FF4-156863271B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9099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F89A51-E3E8-EDBC-1FF4-156863271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10274617" cy="4373562"/>
          </a:xfrm>
        </p:spPr>
        <p:txBody>
          <a:bodyPr/>
          <a:lstStyle>
            <a:lvl1pPr algn="r" rtl="0">
              <a:defRPr/>
            </a:lvl1pPr>
            <a:lvl2pPr algn="r" rtl="0">
              <a:defRPr/>
            </a:lvl2pPr>
            <a:lvl3pPr algn="r" rtl="0">
              <a:defRPr/>
            </a:lvl3pPr>
            <a:lvl4pPr algn="r" rtl="0">
              <a:defRPr/>
            </a:lvl4pPr>
            <a:lvl5pPr algn="r"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6946906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C652BDB-2389-2AD2-3FB5-F30A1DCE3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220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652BDB-2389-2AD2-3FB5-F30A1DCE3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B8137B-B5A3-497E-B62F-AA1E66C45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510BDB-4474-4389-A731-31E633FA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66D405-76EA-4EFE-9D63-1223ED0ED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8BA0BF5-FD54-4C5C-8EA7-41D935B2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jdelijke aanduiding voor grafiek 6">
            <a:extLst>
              <a:ext uri="{FF2B5EF4-FFF2-40B4-BE49-F238E27FC236}">
                <a16:creationId xmlns:a16="http://schemas.microsoft.com/office/drawing/2014/main" id="{FA196990-DF16-44DA-8EC3-7A4C040E40D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8200" y="1458913"/>
            <a:ext cx="10515600" cy="4319587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grafiek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21663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olommen (Foto -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BEDFCE-4AC7-5074-FE9A-36CBFFFD11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5656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BEDFCE-4AC7-5074-FE9A-36CBFFFD11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42E8670-CF6C-4B47-BA6E-08271EEC3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86A6456-8723-48B2-8190-6D06FF4573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D2B6CCA8-BE57-4299-965E-C890E9FB8A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4F7FFC4-3F12-4F7C-96D2-B15EAADBB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jdelijke aanduiding voor afbeelding 6">
            <a:extLst>
              <a:ext uri="{FF2B5EF4-FFF2-40B4-BE49-F238E27FC236}">
                <a16:creationId xmlns:a16="http://schemas.microsoft.com/office/drawing/2014/main" id="{9A8A568F-5C43-4BED-B6D7-DDF28ABA2BF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53400" y="1390650"/>
            <a:ext cx="3200400" cy="193675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10" name="Tijdelijke aanduiding voor afbeelding 6">
            <a:extLst>
              <a:ext uri="{FF2B5EF4-FFF2-40B4-BE49-F238E27FC236}">
                <a16:creationId xmlns:a16="http://schemas.microsoft.com/office/drawing/2014/main" id="{38839B7C-AF00-4B44-9509-5ECEEE7CA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38200" y="1390650"/>
            <a:ext cx="3200400" cy="193675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11" name="Tijdelijke aanduiding voor afbeelding 6">
            <a:extLst>
              <a:ext uri="{FF2B5EF4-FFF2-40B4-BE49-F238E27FC236}">
                <a16:creationId xmlns:a16="http://schemas.microsoft.com/office/drawing/2014/main" id="{9E822C10-C5C5-4990-AB07-9601038DA26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95800" y="1390650"/>
            <a:ext cx="3200400" cy="193675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0E10A439-056D-4F26-8CC1-50B7321FBD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3633283"/>
            <a:ext cx="3200400" cy="1590675"/>
          </a:xfrm>
        </p:spPr>
        <p:txBody>
          <a:bodyPr>
            <a:normAutofit/>
          </a:bodyPr>
          <a:lstStyle>
            <a:lvl1pPr marL="0" indent="0" rtl="0">
              <a:buNone/>
              <a:defRPr sz="2000" baseline="0"/>
            </a:lvl1pPr>
          </a:lstStyle>
          <a:p>
            <a:pPr lvl="0"/>
            <a:r>
              <a:rPr lang="en-GB"/>
              <a:t>Klik hier om de tekst aan te passen</a:t>
            </a:r>
          </a:p>
        </p:txBody>
      </p:sp>
      <p:sp>
        <p:nvSpPr>
          <p:cNvPr id="14" name="Tijdelijke aanduiding voor tekst 12">
            <a:extLst>
              <a:ext uri="{FF2B5EF4-FFF2-40B4-BE49-F238E27FC236}">
                <a16:creationId xmlns:a16="http://schemas.microsoft.com/office/drawing/2014/main" id="{BB725ACD-249F-4A0B-81DC-7562CDEC5A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5528" y="3633282"/>
            <a:ext cx="3200400" cy="1590675"/>
          </a:xfrm>
        </p:spPr>
        <p:txBody>
          <a:bodyPr>
            <a:normAutofit/>
          </a:bodyPr>
          <a:lstStyle>
            <a:lvl1pPr marL="0" indent="0" rtl="0">
              <a:buNone/>
              <a:defRPr sz="2000" baseline="0"/>
            </a:lvl1pPr>
          </a:lstStyle>
          <a:p>
            <a:pPr lvl="0"/>
            <a:r>
              <a:rPr lang="en-GB"/>
              <a:t>Klik hier om de tekst aan te passen</a:t>
            </a:r>
          </a:p>
        </p:txBody>
      </p:sp>
      <p:sp>
        <p:nvSpPr>
          <p:cNvPr id="15" name="Tijdelijke aanduiding voor tekst 12">
            <a:extLst>
              <a:ext uri="{FF2B5EF4-FFF2-40B4-BE49-F238E27FC236}">
                <a16:creationId xmlns:a16="http://schemas.microsoft.com/office/drawing/2014/main" id="{F1385344-D641-4BA1-8AB1-3F01FA91AD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2856" y="3633282"/>
            <a:ext cx="3200400" cy="1590675"/>
          </a:xfrm>
        </p:spPr>
        <p:txBody>
          <a:bodyPr>
            <a:normAutofit/>
          </a:bodyPr>
          <a:lstStyle>
            <a:lvl1pPr marL="0" indent="0" rtl="0">
              <a:buNone/>
              <a:defRPr sz="2000" baseline="0"/>
            </a:lvl1pPr>
          </a:lstStyle>
          <a:p>
            <a:pPr lvl="0"/>
            <a:r>
              <a:rPr lang="en-GB"/>
              <a:t>Klik hier om de tekst aan te passen</a:t>
            </a:r>
          </a:p>
        </p:txBody>
      </p:sp>
    </p:spTree>
    <p:extLst>
      <p:ext uri="{BB962C8B-B14F-4D97-AF65-F5344CB8AC3E}">
        <p14:creationId xmlns:p14="http://schemas.microsoft.com/office/powerpoint/2010/main" val="2128355453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theme" Target="../theme/theme2.xml"/><Relationship Id="rId9" Type="http://schemas.openxmlformats.org/officeDocument/2006/relationships/tags" Target="../tags/tag15.xml"/><Relationship Id="rId10" Type="http://schemas.openxmlformats.org/officeDocument/2006/relationships/oleObject" Target="../embeddings/oleObject14.bin"/><Relationship Id="rId11" Type="http://schemas.openxmlformats.org/officeDocument/2006/relationships/image" Target="../media/image1.emf"/><Relationship Id="rId12" Type="http://schemas.openxmlformats.org/officeDocument/2006/relationships/image" Target="../media/image4.png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6.xml"/><Relationship Id="rId8" Type="http://schemas.openxmlformats.org/officeDocument/2006/relationships/theme" Target="../theme/theme3.xml"/><Relationship Id="rId9" Type="http://schemas.openxmlformats.org/officeDocument/2006/relationships/tags" Target="../tags/tag23.xml"/><Relationship Id="rId10" Type="http://schemas.openxmlformats.org/officeDocument/2006/relationships/oleObject" Target="../embeddings/oleObject22.bin"/><Relationship Id="rId11" Type="http://schemas.openxmlformats.org/officeDocument/2006/relationships/image" Target="../media/image1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theme" Target="../theme/theme4.xml"/><Relationship Id="rId4" Type="http://schemas.openxmlformats.org/officeDocument/2006/relationships/tags" Target="../tags/tag31.xml"/><Relationship Id="rId5" Type="http://schemas.openxmlformats.org/officeDocument/2006/relationships/oleObject" Target="../embeddings/oleObject29.bin"/><Relationship Id="rId6" Type="http://schemas.openxmlformats.org/officeDocument/2006/relationships/image" Target="../media/image1.emf"/><Relationship Id="rId7" Type="http://schemas.openxmlformats.org/officeDocument/2006/relationships/image" Target="../media/image4.png"/></Relationships>
</file>

<file path=ppt/slideMasters/_rels/slideMaster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5.xml"/><Relationship Id="rId8" Type="http://schemas.openxmlformats.org/officeDocument/2006/relationships/slideLayout" Target="../slideLayouts/slideLayout36.xml"/><Relationship Id="rId9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39.xml"/><Relationship Id="rId12" Type="http://schemas.openxmlformats.org/officeDocument/2006/relationships/theme" Target="../theme/theme5.xml"/><Relationship Id="rId13" Type="http://schemas.openxmlformats.org/officeDocument/2006/relationships/tags" Target="../tags/tag34.xml"/><Relationship Id="rId14" Type="http://schemas.openxmlformats.org/officeDocument/2006/relationships/oleObject" Target="../embeddings/oleObject32.bin"/><Relationship Id="rId15" Type="http://schemas.openxmlformats.org/officeDocument/2006/relationships/image" Target="../media/image1.emf"/><Relationship Id="rId16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987EC6E-759C-B22F-40A0-BC4CC81287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93351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87EC6E-759C-B22F-40A0-BC4CC81287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D8DB1C59-F8C1-4730-B1DA-F11E146D3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K OM DE MODELSTIJLEN TE BEWERKE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EEDE NIVEAU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DE NIVEAU</a:t>
            </a:r>
          </a:p>
          <a:p>
            <a:pPr marL="1600200" marR="0" lvl="3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DE NIVEAU</a:t>
            </a:r>
          </a:p>
          <a:p>
            <a:pPr marL="2057400" marR="0" lvl="4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9BBE189-6592-4376-8820-DE1F7D2FFC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8CD7B3A-BE40-4D10-AB8E-C30D6B2797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322E855-3CB5-408A-BEFA-C8B1225785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0304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2" r:id="rId2"/>
    <p:sldLayoutId id="2147483712" r:id="rId3"/>
    <p:sldLayoutId id="2147483713" r:id="rId4"/>
    <p:sldLayoutId id="2147483711" r:id="rId5"/>
    <p:sldLayoutId id="2147483715" r:id="rId6"/>
    <p:sldLayoutId id="2147483714" r:id="rId7"/>
    <p:sldLayoutId id="2147483667" r:id="rId8"/>
    <p:sldLayoutId id="2147483666" r:id="rId9"/>
    <p:sldLayoutId id="2147483652" r:id="rId10"/>
    <p:sldLayoutId id="2147483650" r:id="rId11"/>
    <p:sldLayoutId id="2147483717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cap="all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42950" marR="0" indent="-28575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–"/>
        <a:tabLst/>
        <a:defRPr sz="24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–"/>
        <a:tabLst/>
        <a:defRPr sz="18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»"/>
        <a:tabLst/>
        <a:defRPr sz="18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DEA732C-5633-BBA6-D5D9-D444AE9CF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84705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EA732C-5633-BBA6-D5D9-D444AE9CF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5CEFBC40-65EB-424E-B885-9B26EF0463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  <p:sp>
        <p:nvSpPr>
          <p:cNvPr id="7" name="Tijdelijke aanduiding voor datum 3">
            <a:extLst>
              <a:ext uri="{FF2B5EF4-FFF2-40B4-BE49-F238E27FC236}">
                <a16:creationId xmlns:a16="http://schemas.microsoft.com/office/drawing/2014/main" id="{37534816-3FED-41C9-BD53-9876E03C55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0D6A7249-5169-AF8D-BFF5-AE9C9C2DA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B63C504B-4F18-07F2-2CF7-0ECD456C67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505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3" r:id="rId2"/>
    <p:sldLayoutId id="2147483669" r:id="rId3"/>
    <p:sldLayoutId id="2147483664" r:id="rId4"/>
    <p:sldLayoutId id="2147483663" r:id="rId5"/>
    <p:sldLayoutId id="2147483670" r:id="rId6"/>
    <p:sldLayoutId id="2147483662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E4D9CE-FCFD-F525-D784-3F385F27B9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5559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E4D9CE-FCFD-F525-D784-3F385F27B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7" name="Tijdelijke aanduiding voor datum 3">
            <a:extLst>
              <a:ext uri="{FF2B5EF4-FFF2-40B4-BE49-F238E27FC236}">
                <a16:creationId xmlns:a16="http://schemas.microsoft.com/office/drawing/2014/main" id="{10E8CF8E-82A4-37CD-FF53-F70245FFA0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Tijdelijke aanduiding voor voettekst 4">
            <a:extLst>
              <a:ext uri="{FF2B5EF4-FFF2-40B4-BE49-F238E27FC236}">
                <a16:creationId xmlns:a16="http://schemas.microsoft.com/office/drawing/2014/main" id="{185DD5BC-4B6C-778C-73CD-5BC86161D7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4B40B650-CC1F-2509-E8FE-21720E32D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7120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9" r:id="rId2"/>
    <p:sldLayoutId id="2147483687" r:id="rId3"/>
    <p:sldLayoutId id="2147483688" r:id="rId4"/>
    <p:sldLayoutId id="2147483690" r:id="rId5"/>
    <p:sldLayoutId id="2147483720" r:id="rId6"/>
    <p:sldLayoutId id="2147483721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8B2D7BB-D3E6-851D-8784-854045BF74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1301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B2D7BB-D3E6-851D-8784-854045BF74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1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CEFBC40-65EB-424E-B885-9B26EF0463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  <p:sp>
        <p:nvSpPr>
          <p:cNvPr id="8" name="Tijdelijke aanduiding voor datum 3">
            <a:extLst>
              <a:ext uri="{FF2B5EF4-FFF2-40B4-BE49-F238E27FC236}">
                <a16:creationId xmlns:a16="http://schemas.microsoft.com/office/drawing/2014/main" id="{E79FE96C-B0EE-91E7-0A78-F217C4F468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CF99DE9A-1970-EDD7-CD46-1F47363DE2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50ACABF5-F9DB-12B7-7DC9-B7E83BCB1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0753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9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BED9843-D614-2C37-2BA2-CEF238835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1736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ED9843-D614-2C37-2BA2-CEF238835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CEFBC40-65EB-424E-B885-9B26EF0463B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  <p:sp>
        <p:nvSpPr>
          <p:cNvPr id="8" name="Tijdelijke aanduiding voor datum 3">
            <a:extLst>
              <a:ext uri="{FF2B5EF4-FFF2-40B4-BE49-F238E27FC236}">
                <a16:creationId xmlns:a16="http://schemas.microsoft.com/office/drawing/2014/main" id="{94027885-3249-75E8-6E39-3F5C590D36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BC93C80D-DC43-70FC-A0B6-696CDDC7B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5C47F3AD-E9F2-C2CF-3CBA-EBA0D6C829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7819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1.xml"/><Relationship Id="rId3" Type="http://schemas.openxmlformats.org/officeDocument/2006/relationships/chart" Target="../charts/chart2.xml"/><Relationship Id="rId4" Type="http://schemas.openxmlformats.org/officeDocument/2006/relationships/chart" Target="../charts/chart3.xml"/><Relationship Id="rId5" Type="http://schemas.openxmlformats.org/officeDocument/2006/relationships/chart" Target="../charts/chart4.xml"/><Relationship Id="rId6" Type="http://schemas.openxmlformats.org/officeDocument/2006/relationships/chart" Target="../charts/chart5.xml"/><Relationship Id="rId7" Type="http://schemas.openxmlformats.org/officeDocument/2006/relationships/image" Target="../media/image17.png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31.xml"/><Relationship Id="rId3" Type="http://schemas.openxmlformats.org/officeDocument/2006/relationships/chart" Target="../charts/chart32.xml"/><Relationship Id="rId4" Type="http://schemas.openxmlformats.org/officeDocument/2006/relationships/chart" Target="../charts/chart33.xml"/><Relationship Id="rId5" Type="http://schemas.openxmlformats.org/officeDocument/2006/relationships/chart" Target="../charts/chart34.xml"/><Relationship Id="rId6" Type="http://schemas.openxmlformats.org/officeDocument/2006/relationships/image" Target="../media/image17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7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6.xml"/><Relationship Id="rId3" Type="http://schemas.openxmlformats.org/officeDocument/2006/relationships/image" Target="../media/image17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7.xml"/><Relationship Id="rId3" Type="http://schemas.openxmlformats.org/officeDocument/2006/relationships/chart" Target="../charts/chart8.xml"/><Relationship Id="rId4" Type="http://schemas.openxmlformats.org/officeDocument/2006/relationships/chart" Target="../charts/chart9.xml"/><Relationship Id="rId5" Type="http://schemas.openxmlformats.org/officeDocument/2006/relationships/chart" Target="../charts/chart10.xml"/><Relationship Id="rId6" Type="http://schemas.openxmlformats.org/officeDocument/2006/relationships/image" Target="../media/image17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11.xml"/><Relationship Id="rId3" Type="http://schemas.openxmlformats.org/officeDocument/2006/relationships/chart" Target="../charts/chart12.xml"/><Relationship Id="rId4" Type="http://schemas.openxmlformats.org/officeDocument/2006/relationships/chart" Target="../charts/chart13.xml"/><Relationship Id="rId5" Type="http://schemas.openxmlformats.org/officeDocument/2006/relationships/chart" Target="../charts/chart14.xml"/><Relationship Id="rId6" Type="http://schemas.openxmlformats.org/officeDocument/2006/relationships/image" Target="../media/image17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15.xml"/><Relationship Id="rId3" Type="http://schemas.openxmlformats.org/officeDocument/2006/relationships/chart" Target="../charts/chart16.xml"/><Relationship Id="rId4" Type="http://schemas.openxmlformats.org/officeDocument/2006/relationships/chart" Target="../charts/chart17.xml"/><Relationship Id="rId5" Type="http://schemas.openxmlformats.org/officeDocument/2006/relationships/chart" Target="../charts/chart18.xml"/><Relationship Id="rId6" Type="http://schemas.openxmlformats.org/officeDocument/2006/relationships/image" Target="../media/image17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19.xml"/><Relationship Id="rId3" Type="http://schemas.openxmlformats.org/officeDocument/2006/relationships/chart" Target="../charts/chart20.xml"/><Relationship Id="rId4" Type="http://schemas.openxmlformats.org/officeDocument/2006/relationships/chart" Target="../charts/chart21.xml"/><Relationship Id="rId5" Type="http://schemas.openxmlformats.org/officeDocument/2006/relationships/chart" Target="../charts/chart22.xml"/><Relationship Id="rId6" Type="http://schemas.openxmlformats.org/officeDocument/2006/relationships/image" Target="../media/image17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23.xml"/><Relationship Id="rId3" Type="http://schemas.openxmlformats.org/officeDocument/2006/relationships/chart" Target="../charts/chart24.xml"/><Relationship Id="rId4" Type="http://schemas.openxmlformats.org/officeDocument/2006/relationships/chart" Target="../charts/chart25.xml"/><Relationship Id="rId5" Type="http://schemas.openxmlformats.org/officeDocument/2006/relationships/chart" Target="../charts/chart26.xml"/><Relationship Id="rId6" Type="http://schemas.openxmlformats.org/officeDocument/2006/relationships/image" Target="../media/image17.pn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27.xml"/><Relationship Id="rId3" Type="http://schemas.openxmlformats.org/officeDocument/2006/relationships/chart" Target="../charts/chart28.xml"/><Relationship Id="rId4" Type="http://schemas.openxmlformats.org/officeDocument/2006/relationships/chart" Target="../charts/chart29.xml"/><Relationship Id="rId5" Type="http://schemas.openxmlformats.org/officeDocument/2006/relationships/chart" Target="../charts/chart30.xml"/><Relationship Id="rId6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Market Fingerprint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274320" y="1005840"/>
          <a:ext cx="2103120" cy="41148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2606040" y="1005840"/>
          <a:ext cx="2103120" cy="411480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4937760" y="1005840"/>
          <a:ext cx="2103120" cy="411480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7269480" y="1005840"/>
          <a:ext cx="2103120" cy="4114800"/>
        </p:xfrm>
        <a:graphic>
          <a:graphicData uri="http://schemas.openxmlformats.org/drawingml/2006/chart">
            <c:chart xmlns:c="http://schemas.openxmlformats.org/drawingml/2006/chart" r:id="rId5"/>
          </a:graphicData>
        </a:graphic>
      </p:graphicFrame>
      <p:graphicFrame>
        <p:nvGraphicFramePr>
          <p:cNvPr id="8" name="Chart 7"/>
          <p:cNvGraphicFramePr>
            <a:graphicFrameLocks noGrp="1"/>
          </p:cNvGraphicFramePr>
          <p:nvPr/>
        </p:nvGraphicFramePr>
        <p:xfrm>
          <a:off x="9601200" y="1005840"/>
          <a:ext cx="2103120" cy="4114800"/>
        </p:xfrm>
        <a:graphic>
          <a:graphicData uri="http://schemas.openxmlformats.org/drawingml/2006/chart">
            <c:chart xmlns:c="http://schemas.openxmlformats.org/drawingml/2006/chart" r:id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10" name="Picture 9" descr="fruity_line_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1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Waitrose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36576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10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Brand Landscap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274320" y="1005840"/>
          <a:ext cx="12140734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574"/>
                <a:gridCol w="1055716"/>
                <a:gridCol w="1055716"/>
                <a:gridCol w="1055716"/>
                <a:gridCol w="1055716"/>
                <a:gridCol w="1055716"/>
                <a:gridCol w="1055716"/>
                <a:gridCol w="1055716"/>
                <a:gridCol w="1055716"/>
                <a:gridCol w="1055716"/>
                <a:gridCol w="1055716"/>
              </a:tblGrid>
              <a:tr h="419100"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otal Market Share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Aldi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Lidl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M&amp;S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ainsbury's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esco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esco Express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Waitrose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% Cold Pressed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% Functional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_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_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_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_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_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_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_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_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_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_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</a:tr>
              <a:tr h="4191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Private La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.0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.0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.0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.0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.0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.0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.0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0.0%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6" name="Picture 5" descr="fruity_line_log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2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Retailer Sizing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274320" y="1005840"/>
          <a:ext cx="5029200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300"/>
                <a:gridCol w="1257300"/>
                <a:gridCol w="1257300"/>
                <a:gridCol w="1257300"/>
              </a:tblGrid>
              <a:tr h="571500"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Retailer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tore Format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Avg SKU Count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Avg Facings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Ald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upermark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0</a:t>
                      </a:r>
                    </a:p>
                  </a:txBody>
                  <a:tcPr/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Lidl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upermarket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5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0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M&amp;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upermark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0</a:t>
                      </a:r>
                    </a:p>
                  </a:txBody>
                  <a:tcPr/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ainsbury's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upermarket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5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0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es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upermark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0</a:t>
                      </a:r>
                    </a:p>
                  </a:txBody>
                  <a:tcPr/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esco Express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upermarket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5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0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Waitr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upermark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0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5669280" y="1005840"/>
          <a:ext cx="5943600" cy="4572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7" name="Picture 6" descr="fruity_line_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3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Aldi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36576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4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Lidl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36576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5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M&amp;S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36576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6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Sainsbury's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36576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7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Tesco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36576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8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Tesco Express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36576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9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2.21837769900000036927E+00&quot;&gt;&lt;m_msothmcolidx val=&quot;0&quot;/&gt;&lt;m_rgb r=&quot;A4&quot; g=&quot;D4&quot; b=&quot;8E&quot;/&gt;&lt;/elem&gt;&lt;elem m_fUsage=&quot;2.15418658283290032074E+00&quot;&gt;&lt;m_msothmcolidx val=&quot;0&quot;/&gt;&lt;m_rgb r=&quot;FC&quot; g=&quot;CE&quot; b=&quot;A5&quot;/&gt;&lt;/elem&gt;&lt;elem m_fUsage=&quot;1.73377844010000026209E+00&quot;&gt;&lt;m_msothmcolidx val=&quot;0&quot;/&gt;&lt;m_rgb r=&quot;C2&quot; g=&quot;E2&quot; b=&quot;B4&quot;/&gt;&lt;/elem&gt;&lt;elem m_fUsage=&quot;1.00973789999999996603E+00&quot;&gt;&lt;m_msothmcolidx val=&quot;0&quot;/&gt;&lt;m_rgb r=&quot;E1&quot; g=&quot;F1&quot; b=&quot;D9&quot;/&gt;&lt;/elem&gt;&lt;elem m_fUsage=&quot;3.13810596090000171188E-01&quot;&gt;&lt;m_msothmcolidx val=&quot;0&quot;/&gt;&lt;m_rgb r=&quot;FC&quot; g=&quot;D0&quot; b=&quot;AF&quot;/&gt;&lt;/elem&gt;&lt;elem m_fUsage=&quot;2.82429536481000165171E-01&quot;&gt;&lt;m_msothmcolidx val=&quot;0&quot;/&gt;&lt;m_rgb r=&quot;FE&quot; g=&quot;E6&quot; b=&quot;D7&quot;/&gt;&lt;/elem&gt;&lt;elem m_fUsage=&quot;2.28767924549610118801E-01&quot;&gt;&lt;m_msothmcolidx val=&quot;0&quot;/&gt;&lt;m_rgb r=&quot;FC&quot; g=&quot;C4&quot; b=&quot;91&quot;/&gt;&lt;/elem&gt;&lt;elem m_fUsage=&quot;2.05891132094649098594E-01&quot;&gt;&lt;m_msothmcolidx val=&quot;0&quot;/&gt;&lt;m_rgb r=&quot;FB&quot; g=&quot;BA&quot; b=&quot;76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is template Fruity Line corporate 2020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364BC8DC-70BE-4939-8BEF-8FCAFEA1BD32}"/>
    </a:ext>
  </a:extLst>
</a:theme>
</file>

<file path=ppt/theme/theme2.xml><?xml version="1.0" encoding="utf-8"?>
<a:theme xmlns:a="http://schemas.openxmlformats.org/drawingml/2006/main" name="Foto slides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186A66C8-780C-473E-B6C8-1E28096F547E}"/>
    </a:ext>
  </a:extLst>
</a:theme>
</file>

<file path=ppt/theme/theme3.xml><?xml version="1.0" encoding="utf-8"?>
<a:theme xmlns:a="http://schemas.openxmlformats.org/drawingml/2006/main" name="Voorpagina's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37D09483-552F-4F1D-A4D5-74EB69A1930B}"/>
    </a:ext>
  </a:extLst>
</a:theme>
</file>

<file path=ppt/theme/theme4.xml><?xml version="1.0" encoding="utf-8"?>
<a:theme xmlns:a="http://schemas.openxmlformats.org/drawingml/2006/main" name="Afsluiting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70313597-4477-47A7-830A-20C84B351A71}"/>
    </a:ext>
  </a:extLst>
</a:theme>
</file>

<file path=ppt/theme/theme5.xml><?xml version="1.0" encoding="utf-8"?>
<a:theme xmlns:a="http://schemas.openxmlformats.org/drawingml/2006/main" name="Kantoor ontwerp - leeg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B602C7F3-7291-4132-A252-25ECDC854320}"/>
    </a:ext>
  </a:extLst>
</a:theme>
</file>

<file path=ppt/theme/theme6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06B9974F3DCD46BDCB9AA5CB05588E" ma:contentTypeVersion="7" ma:contentTypeDescription="Create a new document." ma:contentTypeScope="" ma:versionID="28d4166b5732aeeb5b564146e865773c">
  <xsd:schema xmlns:xsd="http://www.w3.org/2001/XMLSchema" xmlns:xs="http://www.w3.org/2001/XMLSchema" xmlns:p="http://schemas.microsoft.com/office/2006/metadata/properties" xmlns:ns3="9dc3c8b0-bed7-4d30-884c-af1dee4927a1" targetNamespace="http://schemas.microsoft.com/office/2006/metadata/properties" ma:root="true" ma:fieldsID="648512f9807ba49346585086507c9266" ns3:_="">
    <xsd:import namespace="9dc3c8b0-bed7-4d30-884c-af1dee4927a1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_activity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c3c8b0-bed7-4d30-884c-af1dee4927a1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_activity" ma:index="9" nillable="true" ma:displayName="_activity" ma:hidden="true" ma:internalName="_activity">
      <xsd:simpleType>
        <xsd:restriction base="dms:Note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dc3c8b0-bed7-4d30-884c-af1dee4927a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49C5681-77E3-434F-A217-CBF28DE536A7}">
  <ds:schemaRefs>
    <ds:schemaRef ds:uri="9dc3c8b0-bed7-4d30-884c-af1dee4927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5F0DE5D-5520-4F75-AA95-4420856F2450}">
  <ds:schemaRefs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infopath/2007/PartnerControls"/>
    <ds:schemaRef ds:uri="9dc3c8b0-bed7-4d30-884c-af1dee4927a1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F4D0585-A747-4EA1-8F2B-D084C50EBE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is template Fruity Line corporate 2020</Template>
  <TotalTime>2397</TotalTime>
  <Words>1811</Words>
  <Application>Microsoft Office PowerPoint</Application>
  <PresentationFormat>Widescreen</PresentationFormat>
  <Paragraphs>477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pthos</vt:lpstr>
      <vt:lpstr>Aptos</vt:lpstr>
      <vt:lpstr>Arial</vt:lpstr>
      <vt:lpstr>Calibri</vt:lpstr>
      <vt:lpstr>HelveticaNeueLT Pro 57 Cn</vt:lpstr>
      <vt:lpstr>HelveticaNeueLT Pro 97 BlkCn</vt:lpstr>
      <vt:lpstr>Segoe UI</vt:lpstr>
      <vt:lpstr>Basis template Fruity Line corporate 2020</vt:lpstr>
      <vt:lpstr>Foto slides</vt:lpstr>
      <vt:lpstr>Voorpagina's</vt:lpstr>
      <vt:lpstr>Afsluiting</vt:lpstr>
      <vt:lpstr>Kantoor ontwerp - leeg</vt:lpstr>
      <vt:lpstr>think-cell Slide</vt:lpstr>
      <vt:lpstr>PowerPoint Presentation</vt:lpstr>
      <vt:lpstr>TABLE OF CONTENTS</vt:lpstr>
      <vt:lpstr>Fruity Line (FL) is the leading European producer of Ultra Fresh (UF) juices, smoothies, shots and functionals</vt:lpstr>
      <vt:lpstr>PowerPoint Presentation</vt:lpstr>
      <vt:lpstr>FL is developing the UF category through a focus on retail and a broad and innovative offering across products and formats</vt:lpstr>
      <vt:lpstr>Competition in chilled juices mainly comes from non-HPP players –  within HPP, FL faces only small to medium scale competitors</vt:lpstr>
      <vt:lpstr>FL’s growth is driven by transforming the Ultra Fresh category and international expansion</vt:lpstr>
      <vt:lpstr>Against this background, FL has defined 3 key strategic growth spearheads</vt:lpstr>
      <vt:lpstr>At established accounts, FL drives category transformation by moving UF from the chilled juice shelf to the fresh fruit &amp; veg depart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HP</dc:creator>
  <cp:lastModifiedBy>Jurjen van der Werf</cp:lastModifiedBy>
  <cp:revision>10</cp:revision>
  <cp:lastPrinted>2025-08-19T19:30:46Z</cp:lastPrinted>
  <dcterms:created xsi:type="dcterms:W3CDTF">2020-09-21T08:03:02Z</dcterms:created>
  <dcterms:modified xsi:type="dcterms:W3CDTF">2026-02-17T17:4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06B9974F3DCD46BDCB9AA5CB05588E</vt:lpwstr>
  </property>
  <property fmtid="{D5CDD505-2E9C-101B-9397-08002B2CF9AE}" pid="3" name="MediaServiceImageTags">
    <vt:lpwstr/>
  </property>
</Properties>
</file>